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93" r:id="rId1"/>
  </p:sldMasterIdLst>
  <p:notesMasterIdLst>
    <p:notesMasterId r:id="rId18"/>
  </p:notesMasterIdLst>
  <p:sldIdLst>
    <p:sldId id="326" r:id="rId2"/>
    <p:sldId id="293" r:id="rId3"/>
    <p:sldId id="317" r:id="rId4"/>
    <p:sldId id="318" r:id="rId5"/>
    <p:sldId id="319" r:id="rId6"/>
    <p:sldId id="320" r:id="rId7"/>
    <p:sldId id="322" r:id="rId8"/>
    <p:sldId id="321" r:id="rId9"/>
    <p:sldId id="323" r:id="rId10"/>
    <p:sldId id="324" r:id="rId11"/>
    <p:sldId id="294" r:id="rId12"/>
    <p:sldId id="313" r:id="rId13"/>
    <p:sldId id="314" r:id="rId14"/>
    <p:sldId id="312" r:id="rId15"/>
    <p:sldId id="308" r:id="rId16"/>
    <p:sldId id="276" r:id="rId17"/>
  </p:sldIdLst>
  <p:sldSz cx="12192000" cy="6858000"/>
  <p:notesSz cx="6797675" cy="9926638"/>
  <p:custDataLst>
    <p:tags r:id="rId19"/>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5F5F5F"/>
    <a:srgbClr val="747474"/>
    <a:srgbClr val="A6A6A6"/>
    <a:srgbClr val="B2B2B2"/>
    <a:srgbClr val="FFFDFD"/>
    <a:srgbClr val="FFFDFE"/>
    <a:srgbClr val="FFFE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519" autoAdjust="0"/>
    <p:restoredTop sz="77673" autoAdjust="0"/>
  </p:normalViewPr>
  <p:slideViewPr>
    <p:cSldViewPr snapToObjects="1" showGuides="1">
      <p:cViewPr varScale="1">
        <p:scale>
          <a:sx n="66" d="100"/>
          <a:sy n="66" d="100"/>
        </p:scale>
        <p:origin x="662" y="62"/>
      </p:cViewPr>
      <p:guideLst>
        <p:guide pos="3840"/>
        <p:guide orient="horz" pos="2160"/>
      </p:guideLst>
    </p:cSldViewPr>
  </p:slideViewPr>
  <p:outlineViewPr>
    <p:cViewPr>
      <p:scale>
        <a:sx n="33" d="100"/>
        <a:sy n="33" d="100"/>
      </p:scale>
      <p:origin x="0" y="-21996"/>
    </p:cViewPr>
  </p:outlineViewPr>
  <p:notesTextViewPr>
    <p:cViewPr>
      <p:scale>
        <a:sx n="1" d="1"/>
        <a:sy n="1" d="1"/>
      </p:scale>
      <p:origin x="0" y="0"/>
    </p:cViewPr>
  </p:notesTextViewPr>
  <p:sorterViewPr>
    <p:cViewPr>
      <p:scale>
        <a:sx n="100" d="100"/>
        <a:sy n="100" d="100"/>
      </p:scale>
      <p:origin x="0" y="-2004"/>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8/25/2022</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a:t>
            </a:fld>
            <a:endParaRPr lang="en-US" dirty="0"/>
          </a:p>
        </p:txBody>
      </p:sp>
    </p:spTree>
    <p:extLst>
      <p:ext uri="{BB962C8B-B14F-4D97-AF65-F5344CB8AC3E}">
        <p14:creationId xmlns:p14="http://schemas.microsoft.com/office/powerpoint/2010/main" val="1472994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noProof="0" dirty="0"/>
              <a:t>Algo que</a:t>
            </a:r>
            <a:r>
              <a:rPr lang="es-MX" baseline="0" noProof="0" dirty="0"/>
              <a:t> es importante entender sobre la administración de la memoria en Linux es que es una de las tareas más complicadas que lleva acabo el sistema operativo. Para cuestiones de está clase se tocaran los conceptos mas básicos al respecto.</a:t>
            </a:r>
          </a:p>
          <a:p>
            <a:r>
              <a:rPr lang="es-MX" baseline="0" noProof="0" dirty="0"/>
              <a:t>Dentro de los sistemas basados en Unix modernos, Linux dentro de ellos, el sistema  operativo provee de un mecanismo de abstracción llamado memoria virtual. Está ofrece una capa entre las solicitudes de memoria de las aplicaciones y las MMU (</a:t>
            </a:r>
            <a:r>
              <a:rPr lang="es-MX" baseline="0" noProof="0" dirty="0" err="1"/>
              <a:t>Memory</a:t>
            </a:r>
            <a:r>
              <a:rPr lang="es-MX" baseline="0" noProof="0" dirty="0"/>
              <a:t> </a:t>
            </a:r>
            <a:r>
              <a:rPr lang="es-MX" baseline="0" noProof="0" dirty="0" err="1"/>
              <a:t>Mangment</a:t>
            </a:r>
            <a:r>
              <a:rPr lang="es-MX" baseline="0" noProof="0" dirty="0"/>
              <a:t> </a:t>
            </a:r>
            <a:r>
              <a:rPr lang="es-MX" baseline="0" noProof="0" dirty="0" err="1"/>
              <a:t>Unit</a:t>
            </a:r>
            <a:r>
              <a:rPr lang="es-MX" baseline="0" noProof="0" dirty="0"/>
              <a:t>)</a:t>
            </a:r>
            <a:endParaRPr lang="es-MX" noProof="0"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1216951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Para poder utilizar la memoria virtual es necesario mapear las direcciones virtuales con respecto</a:t>
            </a:r>
            <a:r>
              <a:rPr lang="es-MX" baseline="0" dirty="0"/>
              <a:t> a las lógicas. Esta operación es llevada a cabo por una unidad de HW conocida como MMU (</a:t>
            </a:r>
            <a:r>
              <a:rPr lang="es-MX" baseline="0" dirty="0" err="1"/>
              <a:t>memory</a:t>
            </a:r>
            <a:r>
              <a:rPr lang="es-MX" baseline="0" dirty="0"/>
              <a:t> </a:t>
            </a:r>
            <a:r>
              <a:rPr lang="es-MX" baseline="0" dirty="0" err="1"/>
              <a:t>managment</a:t>
            </a:r>
            <a:r>
              <a:rPr lang="es-MX" baseline="0" dirty="0"/>
              <a:t> </a:t>
            </a:r>
            <a:r>
              <a:rPr lang="es-MX" baseline="0" dirty="0" err="1"/>
              <a:t>unit</a:t>
            </a:r>
            <a:r>
              <a:rPr lang="es-MX" baseline="0" dirty="0"/>
              <a:t>) por sus siglas en inglés. </a:t>
            </a:r>
          </a:p>
          <a:p>
            <a:r>
              <a:rPr lang="es-MX" baseline="0" dirty="0"/>
              <a:t>Para entender como funciona este proceso hay que considerar primero que la memoria se encuentra dividida lógicamente por el sistema operativo y la MMU en unidades llamadas páginas (4kb en Linux). La MMU posee una estructura de datos conocida como tabla de paginas que registra la relación entra las paginas de memoria virtual y las de memoria física.</a:t>
            </a:r>
          </a:p>
          <a:p>
            <a:r>
              <a:rPr lang="es-MX" baseline="0" dirty="0"/>
              <a:t>Cuando una proceso solicita hacer una operación en una dirección de memoria al SO. Este utiliza la MMU para obtener la dirección real (física) donde se encuentra la página que contiene los datos solicitados. Existe la posibilidad que la página solicitada no se encuentre en memoria física, esto provocaría un fallo de página.</a:t>
            </a:r>
          </a:p>
          <a:p>
            <a:endParaRPr lang="es-MX" baseline="0" dirty="0"/>
          </a:p>
          <a:p>
            <a:pPr marL="0" indent="0">
              <a:buNone/>
            </a:pPr>
            <a:r>
              <a:rPr lang="es-MX" baseline="0" dirty="0"/>
              <a:t>Sobre el diagrama. La memoria virtual es mas grande que la física. Algunas paginas en memoria virtual no están presentes en memoria física. Múltiples paginas en memoria virtual pueden apuntar a la misma pagina de memoria física. </a:t>
            </a:r>
          </a:p>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532849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Un falló de pagina es</a:t>
            </a:r>
            <a:r>
              <a:rPr lang="es-MX" baseline="0" dirty="0"/>
              <a:t> un tipo de excepción que ocurre cuando un proceso solicita acceso a memoria (ya sean datos o código) que no se encuentra en la memoria física del sistema. Esto puede pasar por uso de una dirección invalida, pero en la mayoría de los casos es parte normal del concepto de memoria virtual. </a:t>
            </a:r>
          </a:p>
          <a:p>
            <a:r>
              <a:rPr lang="es-MX" baseline="0" dirty="0"/>
              <a:t>El sistema operativo tiene mecanismos para manejar los fallos de página de forma que las aplicaciones puedan continuar con sus operaciones como si el fallo no hubiera ocurrido.</a:t>
            </a:r>
          </a:p>
          <a:p>
            <a:pPr lvl="1"/>
            <a:r>
              <a:rPr lang="es-MX" baseline="0" dirty="0"/>
              <a:t>El sistema puede tomar la pagina solicitada del disco y copiarla de vuelta en memoria.</a:t>
            </a:r>
          </a:p>
          <a:p>
            <a:pPr lvl="1"/>
            <a:r>
              <a:rPr lang="es-MX" baseline="0" dirty="0"/>
              <a:t>Si la operación es de lectura y se determina que ya esta en memoria pero no está asignada al proceso que la solicita se notifica a la MMU para que actualice la tabla de páginas.</a:t>
            </a:r>
          </a:p>
          <a:p>
            <a:pPr lvl="1"/>
            <a:r>
              <a:rPr lang="es-MX" baseline="0" dirty="0"/>
              <a:t>Si es una solicitud de escritura y se determina que ya esta en memoria pero no está asignada al proceso que la solicita la pagina original se copia y la nueva se asigna al proceso solicitante.</a:t>
            </a:r>
          </a:p>
        </p:txBody>
      </p:sp>
      <p:sp>
        <p:nvSpPr>
          <p:cNvPr id="4" name="Slide Number Placeholder 3"/>
          <p:cNvSpPr>
            <a:spLocks noGrp="1"/>
          </p:cNvSpPr>
          <p:nvPr>
            <p:ph type="sldNum" sz="quarter" idx="5"/>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1775332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Usualmente</a:t>
            </a:r>
            <a:r>
              <a:rPr lang="es-MX" baseline="0" dirty="0"/>
              <a:t> los sistemas operativos dividen la memoria virtual del sistema en dos espacios. El espacio del </a:t>
            </a:r>
            <a:r>
              <a:rPr lang="es-MX" baseline="0" dirty="0" err="1"/>
              <a:t>kernel</a:t>
            </a:r>
            <a:r>
              <a:rPr lang="es-MX" baseline="0" dirty="0"/>
              <a:t> y del usuario.</a:t>
            </a:r>
          </a:p>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26908171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baseline="0" dirty="0"/>
              <a:t>Es en el espacio del </a:t>
            </a:r>
            <a:r>
              <a:rPr lang="es-MX" baseline="0" dirty="0" err="1"/>
              <a:t>kernel</a:t>
            </a:r>
            <a:r>
              <a:rPr lang="es-MX" baseline="0" dirty="0"/>
              <a:t> donde el código y todas las estructuras de datos del </a:t>
            </a:r>
            <a:r>
              <a:rPr lang="es-MX" baseline="0" dirty="0" err="1"/>
              <a:t>kernel</a:t>
            </a:r>
            <a:r>
              <a:rPr lang="es-MX" baseline="0" dirty="0"/>
              <a:t> se encuentran. </a:t>
            </a:r>
          </a:p>
          <a:p>
            <a:pPr lvl="1"/>
            <a:r>
              <a:rPr lang="es-MX" baseline="0" dirty="0"/>
              <a:t>Debido a la importancia y la delicadeza de esta región de memoria el espacio del </a:t>
            </a:r>
            <a:r>
              <a:rPr lang="es-MX" baseline="0" dirty="0" err="1"/>
              <a:t>kernel</a:t>
            </a:r>
            <a:r>
              <a:rPr lang="es-MX" baseline="0" dirty="0"/>
              <a:t> solo puede ser accedido por los procesos de usuario a través de las llamadas al sistema. </a:t>
            </a:r>
          </a:p>
          <a:p>
            <a:pPr lvl="1"/>
            <a:r>
              <a:rPr lang="es-MX" baseline="0" dirty="0"/>
              <a:t>Se asume que todas las funciones del </a:t>
            </a:r>
            <a:r>
              <a:rPr lang="es-MX" baseline="0" dirty="0" err="1"/>
              <a:t>kernel</a:t>
            </a:r>
            <a:r>
              <a:rPr lang="es-MX" baseline="0" dirty="0"/>
              <a:t> están libres de error por lo que los errores ocurridos en este espacio son irrecuperables.</a:t>
            </a:r>
          </a:p>
          <a:p>
            <a:pPr lvl="1"/>
            <a:r>
              <a:rPr lang="es-MX" baseline="0" dirty="0"/>
              <a:t>Todas la operaciones llevadas a cabo dentro del espacio del </a:t>
            </a:r>
            <a:r>
              <a:rPr lang="es-MX" baseline="0" dirty="0" err="1"/>
              <a:t>kernel</a:t>
            </a:r>
            <a:r>
              <a:rPr lang="es-MX" baseline="0" dirty="0"/>
              <a:t> son consideradas de alta prioridad. Por lo que solicitudes de recursos como memoria son atendidas al momento.</a:t>
            </a:r>
          </a:p>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2850474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s-MX" baseline="0" dirty="0"/>
              <a:t>El espacio de usuario es donde todos los procesos de los usuarios son ejecutados.</a:t>
            </a:r>
          </a:p>
          <a:p>
            <a:pPr lvl="1"/>
            <a:r>
              <a:rPr lang="es-MX" baseline="0" dirty="0"/>
              <a:t>Estos procesos son administrados por el </a:t>
            </a:r>
            <a:r>
              <a:rPr lang="es-MX" baseline="0" dirty="0" err="1"/>
              <a:t>kernel</a:t>
            </a:r>
            <a:r>
              <a:rPr lang="es-MX" baseline="0" dirty="0"/>
              <a:t>, quien los considera no confiables por lo que se encuentra preparado para atrapar y despachar todos los posibles errores.</a:t>
            </a:r>
          </a:p>
          <a:p>
            <a:pPr lvl="1"/>
            <a:r>
              <a:rPr lang="es-MX" baseline="0" dirty="0"/>
              <a:t>Al considerase de baja prioridad las operaciones en espacio de usuario, el </a:t>
            </a:r>
            <a:r>
              <a:rPr lang="es-MX" baseline="0" dirty="0" err="1"/>
              <a:t>kernel</a:t>
            </a:r>
            <a:r>
              <a:rPr lang="es-MX" baseline="0" dirty="0"/>
              <a:t> busca diferirlas todos posible. Por ejemplo cuando en nuevo proceso entra en ejecución no todo su código será copiado en memoria física y no será sino hasta que sea necesitado que será copiado. Lo mismo sucede cuando un proceso solicita memoria de forma dinámica.</a:t>
            </a:r>
          </a:p>
          <a:p>
            <a:pPr lvl="1"/>
            <a:endParaRPr lang="es-MX" baseline="0" dirty="0"/>
          </a:p>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2196903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Este contiene todas direcciones virtuales a</a:t>
            </a:r>
            <a:r>
              <a:rPr lang="es-MX" baseline="0" dirty="0"/>
              <a:t> las cueles </a:t>
            </a:r>
            <a:r>
              <a:rPr lang="es-MX" dirty="0"/>
              <a:t>un</a:t>
            </a:r>
            <a:r>
              <a:rPr lang="es-MX" baseline="0" dirty="0"/>
              <a:t> proceso tiene permitido acceder. Este espacio se encuentra dividido en las siguientes áreas.</a:t>
            </a:r>
          </a:p>
          <a:p>
            <a:pPr lvl="1"/>
            <a:r>
              <a:rPr lang="es-MX" baseline="0" dirty="0"/>
              <a:t>Código ejecutable del programa: Como su nombre lo dice contiene el programa en ejecución en mi mismo. Está marcado como solo lectura para prevenir a los programas re escribir su propio código.</a:t>
            </a:r>
          </a:p>
          <a:p>
            <a:pPr lvl="1"/>
            <a:r>
              <a:rPr lang="es-MX" baseline="0" dirty="0"/>
              <a:t>Variables de datos inicializadas: Variables globales y estáticas inicializadas explícitamente por el programa. Se contiene secciones de solo lectura (</a:t>
            </a:r>
            <a:r>
              <a:rPr lang="es-MX" baseline="0" dirty="0" err="1"/>
              <a:t>static</a:t>
            </a:r>
            <a:r>
              <a:rPr lang="es-MX" baseline="0" dirty="0"/>
              <a:t> </a:t>
            </a:r>
            <a:r>
              <a:rPr lang="es-MX" baseline="0" dirty="0" err="1"/>
              <a:t>const</a:t>
            </a:r>
            <a:r>
              <a:rPr lang="es-MX" baseline="0" dirty="0"/>
              <a:t> </a:t>
            </a:r>
            <a:r>
              <a:rPr lang="es-MX" baseline="0" dirty="0" err="1"/>
              <a:t>char</a:t>
            </a:r>
            <a:r>
              <a:rPr lang="es-MX" baseline="0" dirty="0"/>
              <a:t>* </a:t>
            </a:r>
            <a:r>
              <a:rPr lang="es-MX" baseline="0" dirty="0" err="1"/>
              <a:t>var</a:t>
            </a:r>
            <a:r>
              <a:rPr lang="es-MX" baseline="0" dirty="0"/>
              <a:t> = “Hola“;) y de lectura escritura (</a:t>
            </a:r>
            <a:r>
              <a:rPr lang="es-MX" baseline="0" dirty="0" err="1"/>
              <a:t>static</a:t>
            </a:r>
            <a:r>
              <a:rPr lang="es-MX" baseline="0" dirty="0"/>
              <a:t> </a:t>
            </a:r>
            <a:r>
              <a:rPr lang="es-MX" baseline="0" dirty="0" err="1"/>
              <a:t>int</a:t>
            </a:r>
            <a:r>
              <a:rPr lang="es-MX" baseline="0" dirty="0"/>
              <a:t> i = 69;)</a:t>
            </a:r>
          </a:p>
          <a:p>
            <a:pPr lvl="1"/>
            <a:r>
              <a:rPr lang="es-MX" baseline="0" dirty="0"/>
              <a:t>Variables de datos no inicializadas: Variables globales  y estáticas que han sido inicializadas con 0 por el </a:t>
            </a:r>
            <a:r>
              <a:rPr lang="es-MX" baseline="0" dirty="0" err="1"/>
              <a:t>kernel</a:t>
            </a:r>
            <a:r>
              <a:rPr lang="es-MX" baseline="0" dirty="0"/>
              <a:t>.</a:t>
            </a:r>
          </a:p>
          <a:p>
            <a:pPr marL="534988" marR="0" lvl="1"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s-MX" baseline="0" dirty="0"/>
              <a:t>Montículo o </a:t>
            </a:r>
            <a:r>
              <a:rPr lang="es-MX" i="1" baseline="0" dirty="0" err="1"/>
              <a:t>heap</a:t>
            </a:r>
            <a:r>
              <a:rPr lang="es-MX" i="0" baseline="0" dirty="0"/>
              <a:t>: Sección de memoria dinámica que crece en dirección al </a:t>
            </a:r>
            <a:r>
              <a:rPr lang="es-MX" i="1" baseline="0" dirty="0" err="1"/>
              <a:t>stack</a:t>
            </a:r>
            <a:r>
              <a:rPr lang="es-MX" i="1" baseline="0" dirty="0"/>
              <a:t>. </a:t>
            </a:r>
            <a:r>
              <a:rPr lang="es-MX" i="0" baseline="0" dirty="0"/>
              <a:t>La memoria asignada dinámicamente mediante llamadas al sistema se encuentra en esta área.</a:t>
            </a:r>
            <a:endParaRPr lang="es-MX" i="1" baseline="0" dirty="0"/>
          </a:p>
          <a:p>
            <a:pPr lvl="1"/>
            <a:r>
              <a:rPr lang="es-MX" baseline="0" dirty="0"/>
              <a:t>Pila: Sección de memoria dinámica que crece en dirección al </a:t>
            </a:r>
            <a:r>
              <a:rPr lang="es-MX" i="1" baseline="0" dirty="0" err="1"/>
              <a:t>heap</a:t>
            </a:r>
            <a:r>
              <a:rPr lang="es-MX" i="0" baseline="0" dirty="0"/>
              <a:t>. Es utilizada cada vez que se hace una llamada a función para almacenar las direcciones de retorno, los valores de los registros del CPU a en el momento , los argumentos de la función llamada y sus variables.</a:t>
            </a:r>
            <a:endParaRPr lang="es-MX" i="1" baseline="0"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9</a:t>
            </a:fld>
            <a:endParaRPr lang="en-US"/>
          </a:p>
        </p:txBody>
      </p:sp>
    </p:spTree>
    <p:extLst>
      <p:ext uri="{BB962C8B-B14F-4D97-AF65-F5344CB8AC3E}">
        <p14:creationId xmlns:p14="http://schemas.microsoft.com/office/powerpoint/2010/main" val="518316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0</a:t>
            </a:fld>
            <a:endParaRPr lang="en-US"/>
          </a:p>
        </p:txBody>
      </p:sp>
    </p:spTree>
    <p:extLst>
      <p:ext uri="{BB962C8B-B14F-4D97-AF65-F5344CB8AC3E}">
        <p14:creationId xmlns:p14="http://schemas.microsoft.com/office/powerpoint/2010/main" val="3795004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4E6E6-1CE8-41F9-98F4-39DD34834F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3B1D92AC-44A5-4ADA-9EB6-6FD7ACCE1C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A5F9094D-D4E0-43D4-9162-F1901CB99DB8}"/>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1C8B1BDD-F3CC-43FC-AE03-BC9EB7DCEDB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D57F157D-5648-49D7-B76C-ACD034B508E2}"/>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13708837"/>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57896-C6B4-4397-93A5-462535F19C54}"/>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634E8E9F-85C5-4A55-9370-48D7DCDB55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3F08DA2C-7772-4563-BD2B-75A0BE167AD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F449B517-8F57-43D9-AC2E-7B93D9747EA4}"/>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4D3FAD0F-E87F-4A66-AD03-EF94F76D6E49}"/>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96687692"/>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415A98-DB4F-421F-9CE7-A0BD91F8C4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8897C41C-AE72-478B-83A0-B2FB661FA9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5B4FE08-9675-4CCE-A6D7-5859D80058F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88ABDCFA-251C-4160-AB03-8027D0B69CE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1858644-AF50-4A84-8FC0-5694BA012DDB}"/>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35905316"/>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small picture)">
    <p:bg>
      <p:bgPr>
        <a:solidFill>
          <a:schemeClr val="bg1"/>
        </a:solidFill>
        <a:effectLst/>
      </p:bgPr>
    </p:bg>
    <p:spTree>
      <p:nvGrpSpPr>
        <p:cNvPr id="1" name=""/>
        <p:cNvGrpSpPr/>
        <p:nvPr/>
      </p:nvGrpSpPr>
      <p:grpSpPr>
        <a:xfrm>
          <a:off x="0" y="0"/>
          <a:ext cx="0" cy="0"/>
          <a:chOff x="0" y="0"/>
          <a:chExt cx="0" cy="0"/>
        </a:xfrm>
      </p:grpSpPr>
      <p:grpSp>
        <p:nvGrpSpPr>
          <p:cNvPr id="14" name="FRAME White">
            <a:extLst>
              <a:ext uri="{FF2B5EF4-FFF2-40B4-BE49-F238E27FC236}">
                <a16:creationId xmlns:a16="http://schemas.microsoft.com/office/drawing/2014/main" id="{15DAF63E-3799-4D6A-959B-7DE1A063DBBF}"/>
              </a:ext>
            </a:extLst>
          </p:cNvPr>
          <p:cNvGrpSpPr/>
          <p:nvPr userDrawn="1"/>
        </p:nvGrpSpPr>
        <p:grpSpPr>
          <a:xfrm>
            <a:off x="0" y="0"/>
            <a:ext cx="12193200" cy="6858001"/>
            <a:chOff x="0" y="0"/>
            <a:chExt cx="12193200" cy="6858001"/>
          </a:xfrm>
        </p:grpSpPr>
        <p:sp>
          <p:nvSpPr>
            <p:cNvPr id="15" name="Rechteck 14">
              <a:extLst>
                <a:ext uri="{FF2B5EF4-FFF2-40B4-BE49-F238E27FC236}">
                  <a16:creationId xmlns:a16="http://schemas.microsoft.com/office/drawing/2014/main" id="{A146DD86-BBB9-4F16-BDE4-93175C4C67B1}"/>
                </a:ext>
              </a:extLst>
            </p:cNvPr>
            <p:cNvSpPr/>
            <p:nvPr userDrawn="1"/>
          </p:nvSpPr>
          <p:spPr>
            <a:xfrm>
              <a:off x="0" y="0"/>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0" name="Rechteck 19">
              <a:extLst>
                <a:ext uri="{FF2B5EF4-FFF2-40B4-BE49-F238E27FC236}">
                  <a16:creationId xmlns:a16="http://schemas.microsoft.com/office/drawing/2014/main" id="{7577A2A5-0C0B-4048-A501-27F709D10B73}"/>
                </a:ext>
              </a:extLst>
            </p:cNvPr>
            <p:cNvSpPr/>
            <p:nvPr userDrawn="1"/>
          </p:nvSpPr>
          <p:spPr>
            <a:xfrm>
              <a:off x="0" y="6668791"/>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1" name="Rechteck 20">
              <a:extLst>
                <a:ext uri="{FF2B5EF4-FFF2-40B4-BE49-F238E27FC236}">
                  <a16:creationId xmlns:a16="http://schemas.microsoft.com/office/drawing/2014/main" id="{E2475753-285F-487A-AEEF-6F0E0B816F2F}"/>
                </a:ext>
              </a:extLst>
            </p:cNvPr>
            <p:cNvSpPr/>
            <p:nvPr userDrawn="1"/>
          </p:nvSpPr>
          <p:spPr>
            <a:xfrm>
              <a:off x="0" y="1"/>
              <a:ext cx="192220"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2" name="Rechteck 21">
              <a:extLst>
                <a:ext uri="{FF2B5EF4-FFF2-40B4-BE49-F238E27FC236}">
                  <a16:creationId xmlns:a16="http://schemas.microsoft.com/office/drawing/2014/main" id="{42B760C1-D34C-47B0-B44E-83FCED00374F}"/>
                </a:ext>
              </a:extLst>
            </p:cNvPr>
            <p:cNvSpPr/>
            <p:nvPr userDrawn="1"/>
          </p:nvSpPr>
          <p:spPr>
            <a:xfrm>
              <a:off x="11999779" y="1"/>
              <a:ext cx="192221"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grpSp>
      <p:sp>
        <p:nvSpPr>
          <p:cNvPr id="24" name="Bildplatzhalter">
            <a:extLst>
              <a:ext uri="{FF2B5EF4-FFF2-40B4-BE49-F238E27FC236}">
                <a16:creationId xmlns:a16="http://schemas.microsoft.com/office/drawing/2014/main" id="{830BE22D-5FF6-42FB-85B3-DB82480465F7}"/>
              </a:ext>
            </a:extLst>
          </p:cNvPr>
          <p:cNvSpPr>
            <a:spLocks noGrp="1"/>
          </p:cNvSpPr>
          <p:nvPr>
            <p:ph type="pic" sz="quarter" idx="15"/>
          </p:nvPr>
        </p:nvSpPr>
        <p:spPr>
          <a:xfrm>
            <a:off x="192088" y="188911"/>
            <a:ext cx="11807827" cy="3708402"/>
          </a:xfrm>
          <a:custGeom>
            <a:avLst/>
            <a:gdLst>
              <a:gd name="connsiteX0" fmla="*/ 0 w 11807827"/>
              <a:gd name="connsiteY0" fmla="*/ 0 h 3708402"/>
              <a:gd name="connsiteX1" fmla="*/ 288941 w 11807827"/>
              <a:gd name="connsiteY1" fmla="*/ 0 h 3708402"/>
              <a:gd name="connsiteX2" fmla="*/ 288941 w 11807827"/>
              <a:gd name="connsiteY2" fmla="*/ 1058993 h 3708402"/>
              <a:gd name="connsiteX3" fmla="*/ 2752882 w 11807827"/>
              <a:gd name="connsiteY3" fmla="*/ 1058993 h 3708402"/>
              <a:gd name="connsiteX4" fmla="*/ 2752882 w 11807827"/>
              <a:gd name="connsiteY4" fmla="*/ 0 h 3708402"/>
              <a:gd name="connsiteX5" fmla="*/ 11807827 w 11807827"/>
              <a:gd name="connsiteY5" fmla="*/ 0 h 3708402"/>
              <a:gd name="connsiteX6" fmla="*/ 11807827 w 11807827"/>
              <a:gd name="connsiteY6" fmla="*/ 3708402 h 3708402"/>
              <a:gd name="connsiteX7" fmla="*/ 0 w 11807827"/>
              <a:gd name="connsiteY7" fmla="*/ 3708402 h 370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3708402">
                <a:moveTo>
                  <a:pt x="0" y="0"/>
                </a:moveTo>
                <a:lnTo>
                  <a:pt x="288941" y="0"/>
                </a:lnTo>
                <a:lnTo>
                  <a:pt x="288941" y="1058993"/>
                </a:lnTo>
                <a:lnTo>
                  <a:pt x="2752882" y="1058993"/>
                </a:lnTo>
                <a:lnTo>
                  <a:pt x="2752882" y="0"/>
                </a:lnTo>
                <a:lnTo>
                  <a:pt x="11807827" y="0"/>
                </a:lnTo>
                <a:lnTo>
                  <a:pt x="11807827" y="3708402"/>
                </a:lnTo>
                <a:lnTo>
                  <a:pt x="0" y="3708402"/>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de-DE" dirty="0"/>
              <a:t>Bild durch Klicken auf Symbol hinzufügen</a:t>
            </a:r>
          </a:p>
        </p:txBody>
      </p:sp>
      <p:sp>
        <p:nvSpPr>
          <p:cNvPr id="2" name="Titel"/>
          <p:cNvSpPr>
            <a:spLocks noGrp="1"/>
          </p:cNvSpPr>
          <p:nvPr>
            <p:ph type="ctrTitle"/>
          </p:nvPr>
        </p:nvSpPr>
        <p:spPr>
          <a:xfrm>
            <a:off x="479425" y="4149080"/>
            <a:ext cx="11233151" cy="540000"/>
          </a:xfrm>
        </p:spPr>
        <p:txBody>
          <a:bodyPr tIns="0" rIns="0" bIns="0" anchor="t" anchorCtr="0">
            <a:noAutofit/>
          </a:bodyPr>
          <a:lstStyle>
            <a:lvl1pPr algn="l">
              <a:defRPr sz="3200">
                <a:solidFill>
                  <a:schemeClr val="accent1"/>
                </a:solidFill>
              </a:defRPr>
            </a:lvl1pPr>
          </a:lstStyle>
          <a:p>
            <a:r>
              <a:rPr lang="de-DE" noProof="0" dirty="0"/>
              <a:t>Mastertitelformat bearbeiten</a:t>
            </a:r>
            <a:endParaRPr lang="en-US" noProof="0" dirty="0"/>
          </a:p>
        </p:txBody>
      </p:sp>
      <p:sp>
        <p:nvSpPr>
          <p:cNvPr id="3" name="Untertitel"/>
          <p:cNvSpPr>
            <a:spLocks noGrp="1"/>
          </p:cNvSpPr>
          <p:nvPr>
            <p:ph type="subTitle" idx="1"/>
          </p:nvPr>
        </p:nvSpPr>
        <p:spPr>
          <a:xfrm>
            <a:off x="479424" y="4609880"/>
            <a:ext cx="11233151" cy="1198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Master-Untertitelformat bearbeiten</a:t>
            </a:r>
            <a:endParaRPr lang="en-US" noProof="0" dirty="0"/>
          </a:p>
        </p:txBody>
      </p:sp>
      <p:sp>
        <p:nvSpPr>
          <p:cNvPr id="10" name="URL"/>
          <p:cNvSpPr>
            <a:spLocks noGrp="1"/>
          </p:cNvSpPr>
          <p:nvPr>
            <p:ph type="body" sz="quarter" idx="10" hasCustomPrompt="1"/>
          </p:nvPr>
        </p:nvSpPr>
        <p:spPr>
          <a:xfrm>
            <a:off x="479425" y="6034835"/>
            <a:ext cx="3600000" cy="382497"/>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400000" cy="382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25" name="Logo">
            <a:extLst>
              <a:ext uri="{FF2B5EF4-FFF2-40B4-BE49-F238E27FC236}">
                <a16:creationId xmlns:a16="http://schemas.microsoft.com/office/drawing/2014/main" id="{05907349-0A63-4400-8904-0092523F0C32}"/>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05D68D9D-A71B-4491-8644-B948906D9288}"/>
              </a:ext>
            </a:extLst>
          </p:cNvPr>
          <p:cNvSpPr>
            <a:spLocks noGrp="1"/>
          </p:cNvSpPr>
          <p:nvPr>
            <p:ph type="dt" sz="half" idx="16"/>
          </p:nvPr>
        </p:nvSpPr>
        <p:spPr>
          <a:xfrm>
            <a:off x="12192000" y="6858000"/>
            <a:ext cx="0" cy="0"/>
          </a:xfrm>
        </p:spPr>
        <p:txBody>
          <a:bodyPr anchor="b"/>
          <a:lstStyle>
            <a:lvl1pPr algn="r">
              <a:defRPr>
                <a:noFill/>
              </a:defRPr>
            </a:lvl1pPr>
          </a:lstStyle>
          <a:p>
            <a:fld id="{7AA5DA1E-6869-4A03-AEE2-7761825AD0A1}" type="datetime1">
              <a:rPr lang="en-US" smtClean="0"/>
              <a:pPr/>
              <a:t>8/25/2022</a:t>
            </a:fld>
            <a:endParaRPr lang="en-US" dirty="0"/>
          </a:p>
        </p:txBody>
      </p:sp>
      <p:sp>
        <p:nvSpPr>
          <p:cNvPr id="5" name="Fußzeilenplatzhalter 4">
            <a:extLst>
              <a:ext uri="{FF2B5EF4-FFF2-40B4-BE49-F238E27FC236}">
                <a16:creationId xmlns:a16="http://schemas.microsoft.com/office/drawing/2014/main" id="{7DDCFEC8-1D53-47C5-ACF7-F4A3F6140CB2}"/>
              </a:ext>
            </a:extLst>
          </p:cNvPr>
          <p:cNvSpPr>
            <a:spLocks noGrp="1"/>
          </p:cNvSpPr>
          <p:nvPr>
            <p:ph type="ftr" sz="quarter" idx="17"/>
          </p:nvPr>
        </p:nvSpPr>
        <p:spPr>
          <a:xfrm>
            <a:off x="12192000" y="6858000"/>
            <a:ext cx="0" cy="0"/>
          </a:xfrm>
        </p:spPr>
        <p:txBody>
          <a:bodyPr anchor="b"/>
          <a:lstStyle>
            <a:lvl1pPr algn="r">
              <a:defRPr>
                <a:noFill/>
              </a:defRPr>
            </a:lvl1pPr>
          </a:lstStyle>
          <a:p>
            <a:r>
              <a:rPr lang="en-US"/>
              <a:t>Author © Continental AG</a:t>
            </a:r>
            <a:endParaRPr lang="en-US" dirty="0"/>
          </a:p>
        </p:txBody>
      </p:sp>
      <p:sp>
        <p:nvSpPr>
          <p:cNvPr id="6" name="Foliennummernplatzhalter 5">
            <a:extLst>
              <a:ext uri="{FF2B5EF4-FFF2-40B4-BE49-F238E27FC236}">
                <a16:creationId xmlns:a16="http://schemas.microsoft.com/office/drawing/2014/main" id="{68111916-1B0E-4985-9F06-8277EDF39A56}"/>
              </a:ext>
            </a:extLst>
          </p:cNvPr>
          <p:cNvSpPr>
            <a:spLocks noGrp="1"/>
          </p:cNvSpPr>
          <p:nvPr>
            <p:ph type="sldNum" sz="quarter" idx="18"/>
          </p:nvPr>
        </p:nvSpPr>
        <p:spPr>
          <a:xfrm>
            <a:off x="12192000" y="6858000"/>
            <a:ext cx="0" cy="0"/>
          </a:xfrm>
        </p:spPr>
        <p:txBody>
          <a:bodyPr anchor="b"/>
          <a:lstStyle>
            <a:lvl1pPr algn="r">
              <a:defRPr>
                <a:noFill/>
              </a:defRPr>
            </a:lvl1p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35410858"/>
      </p:ext>
    </p:extLst>
  </p:cSld>
  <p:clrMapOvr>
    <a:masterClrMapping/>
  </p:clrMapOvr>
  <p:transition>
    <p:fade/>
  </p:transition>
  <p:extLst>
    <p:ext uri="{DCECCB84-F9BA-43D5-87BE-67443E8EF086}">
      <p15:sldGuideLst xmlns:p15="http://schemas.microsoft.com/office/powerpoint/2012/main">
        <p15:guide id="1" orient="horz" pos="2455">
          <p15:clr>
            <a:srgbClr val="FBAE40"/>
          </p15:clr>
        </p15:guide>
        <p15:guide id="2" pos="302">
          <p15:clr>
            <a:srgbClr val="FBAE40"/>
          </p15:clr>
        </p15:guide>
        <p15:guide id="3"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white)">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de-DE"/>
              <a:t>Mastertitelformat bearbeiten</a:t>
            </a:r>
          </a:p>
        </p:txBody>
      </p:sp>
      <p:sp>
        <p:nvSpPr>
          <p:cNvPr id="11" name="MIO_LOGOPLACEHOLDER#Logo_16x9" hidden="1">
            <a:extLst>
              <a:ext uri="{FF2B5EF4-FFF2-40B4-BE49-F238E27FC236}">
                <a16:creationId xmlns:a16="http://schemas.microsoft.com/office/drawing/2014/main" id="{32F9D74A-FBE0-425D-9642-995123835A7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Space for individual informa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
        <p:nvSpPr>
          <p:cNvPr id="16" name="Masterfeld-Class-EN">
            <a:extLst>
              <a:ext uri="{FF2B5EF4-FFF2-40B4-BE49-F238E27FC236}">
                <a16:creationId xmlns:a16="http://schemas.microsoft.com/office/drawing/2014/main" id="{D947D2E2-B9BD-4867-96BB-0E2A9A807420}"/>
              </a:ext>
            </a:extLst>
          </p:cNvPr>
          <p:cNvSpPr txBox="1">
            <a:spLocks noChangeArrowheads="1"/>
          </p:cNvSpPr>
          <p:nvPr userDrawn="1">
            <p:custDataLst>
              <p:tags r:id="rId3"/>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Confidential</a:t>
            </a:r>
            <a:endParaRPr lang="de-DE" sz="800" noProof="0" dirty="0">
              <a:solidFill>
                <a:schemeClr val="tx1"/>
              </a:solidFill>
              <a:latin typeface="+mn-lt"/>
            </a:endParaRPr>
          </a:p>
        </p:txBody>
      </p:sp>
      <p:sp>
        <p:nvSpPr>
          <p:cNvPr id="17" name="Masterfeld-Class-DE" hidden="1">
            <a:extLst>
              <a:ext uri="{FF2B5EF4-FFF2-40B4-BE49-F238E27FC236}">
                <a16:creationId xmlns:a16="http://schemas.microsoft.com/office/drawing/2014/main" id="{C339FBF6-C82F-48A2-A44B-1587C009EB0D}"/>
              </a:ext>
            </a:extLst>
          </p:cNvPr>
          <p:cNvSpPr txBox="1">
            <a:spLocks noChangeArrowheads="1"/>
          </p:cNvSpPr>
          <p:nvPr userDrawn="1">
            <p:custDataLst>
              <p:tags r:id="rId4"/>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Vertraulich</a:t>
            </a:r>
            <a:endParaRPr lang="de-DE" sz="800" noProof="0" dirty="0">
              <a:solidFill>
                <a:schemeClr val="tx1"/>
              </a:solidFill>
              <a:latin typeface="+mn-lt"/>
            </a:endParaRPr>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pPr algn="ctr"/>
            <a:r>
              <a:rPr lang="en-US"/>
              <a:t>Author © Continental AG</a:t>
            </a:r>
            <a:endParaRPr lang="en-US"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001883440"/>
      </p:ext>
    </p:extLst>
  </p:cSld>
  <p:clrMapOvr>
    <a:masterClrMapping/>
  </p:clrMapOvr>
  <p:transition>
    <p:fade/>
  </p:transition>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72ABA-9034-4688-B115-7E6E8A0E717E}"/>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A1CC631C-397B-4A91-BE5F-7478DDBA45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F5C5183-1FE1-483F-8700-C3CBBB1CCF0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69D49E33-F595-4DFB-9E3F-A91AA6ECD6D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35FBDA99-3B59-4607-9C4E-9731299FD79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7536517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AF5E-992A-4262-A3D9-82C97CF305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20BEFEF7-7C34-4457-93CB-73249145EB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4558E8-B5D8-4710-BA90-0ACCF3996C62}"/>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C5B664B8-39BE-4D71-9D39-1D02D7A9414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B8830AF-3919-40C8-99DF-ABD716D6E108}"/>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22802489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505F8-4652-43C0-A421-08AFB8056216}"/>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50602988-9290-4B49-B1BD-499E3A00AE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C500E52D-C1CF-469F-9857-0D019CA773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D71FC23C-CCD2-4379-9E79-283E9EAA850C}"/>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9F9F9651-D763-453B-820E-BE034BC0BBFB}"/>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B7AB03D4-5AAC-4B9A-9E5A-D3635EE889F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58588024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3770B-306A-4CDA-8E15-0B773B762C41}"/>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CB10AC44-00E7-48DA-A683-78EA5BA415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0EFE7A-D77D-4C26-A531-2B59394DACF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6474532B-A560-4C55-B470-5BC2E6B126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F64B55-CE76-4DF4-B475-A92EADC797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CA51D5E7-05A3-4DC0-8456-6BD4FFD85C1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8" name="Footer Placeholder 7">
            <a:extLst>
              <a:ext uri="{FF2B5EF4-FFF2-40B4-BE49-F238E27FC236}">
                <a16:creationId xmlns:a16="http://schemas.microsoft.com/office/drawing/2014/main" id="{831CAC07-49BD-41F8-80A4-F426E87F7464}"/>
              </a:ext>
            </a:extLst>
          </p:cNvPr>
          <p:cNvSpPr>
            <a:spLocks noGrp="1"/>
          </p:cNvSpPr>
          <p:nvPr>
            <p:ph type="ftr" sz="quarter" idx="11"/>
          </p:nvPr>
        </p:nvSpPr>
        <p:spPr/>
        <p:txBody>
          <a:bodyPr/>
          <a:lstStyle/>
          <a:p>
            <a:pPr algn="ctr"/>
            <a:r>
              <a:rPr lang="en-US"/>
              <a:t>Author © Continental AG</a:t>
            </a:r>
            <a:endParaRPr lang="en-US" dirty="0"/>
          </a:p>
        </p:txBody>
      </p:sp>
      <p:sp>
        <p:nvSpPr>
          <p:cNvPr id="9" name="Slide Number Placeholder 8">
            <a:extLst>
              <a:ext uri="{FF2B5EF4-FFF2-40B4-BE49-F238E27FC236}">
                <a16:creationId xmlns:a16="http://schemas.microsoft.com/office/drawing/2014/main" id="{89BAC7C2-F021-4B9E-84DC-80F6EA93EDC1}"/>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33851634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A4037-EC4C-4C8E-8BA5-D9E39950B12A}"/>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1C291DC3-9746-4520-A1D6-8893717BDA3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4" name="Footer Placeholder 3">
            <a:extLst>
              <a:ext uri="{FF2B5EF4-FFF2-40B4-BE49-F238E27FC236}">
                <a16:creationId xmlns:a16="http://schemas.microsoft.com/office/drawing/2014/main" id="{B0C0121D-5781-483C-8348-8B05201B0393}"/>
              </a:ext>
            </a:extLst>
          </p:cNvPr>
          <p:cNvSpPr>
            <a:spLocks noGrp="1"/>
          </p:cNvSpPr>
          <p:nvPr>
            <p:ph type="ftr" sz="quarter" idx="11"/>
          </p:nvPr>
        </p:nvSpPr>
        <p:spPr/>
        <p:txBody>
          <a:bodyPr/>
          <a:lstStyle/>
          <a:p>
            <a:pPr algn="ctr"/>
            <a:r>
              <a:rPr lang="en-US"/>
              <a:t>Author © Continental AG</a:t>
            </a:r>
            <a:endParaRPr lang="en-US" dirty="0"/>
          </a:p>
        </p:txBody>
      </p:sp>
      <p:sp>
        <p:nvSpPr>
          <p:cNvPr id="5" name="Slide Number Placeholder 4">
            <a:extLst>
              <a:ext uri="{FF2B5EF4-FFF2-40B4-BE49-F238E27FC236}">
                <a16:creationId xmlns:a16="http://schemas.microsoft.com/office/drawing/2014/main" id="{181C0F81-AAD4-4FEA-9666-F224555BA62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02502026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ACABC7-1120-4887-8A83-038F0B6C406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3" name="Footer Placeholder 2">
            <a:extLst>
              <a:ext uri="{FF2B5EF4-FFF2-40B4-BE49-F238E27FC236}">
                <a16:creationId xmlns:a16="http://schemas.microsoft.com/office/drawing/2014/main" id="{FA6530E7-2FD9-4BCE-835C-FEA20FEFC10B}"/>
              </a:ext>
            </a:extLst>
          </p:cNvPr>
          <p:cNvSpPr>
            <a:spLocks noGrp="1"/>
          </p:cNvSpPr>
          <p:nvPr>
            <p:ph type="ftr" sz="quarter" idx="11"/>
          </p:nvPr>
        </p:nvSpPr>
        <p:spPr/>
        <p:txBody>
          <a:bodyPr/>
          <a:lstStyle/>
          <a:p>
            <a:pPr algn="ctr"/>
            <a:r>
              <a:rPr lang="en-US"/>
              <a:t>Author © Continental AG</a:t>
            </a:r>
            <a:endParaRPr lang="en-US" dirty="0"/>
          </a:p>
        </p:txBody>
      </p:sp>
      <p:sp>
        <p:nvSpPr>
          <p:cNvPr id="4" name="Slide Number Placeholder 3">
            <a:extLst>
              <a:ext uri="{FF2B5EF4-FFF2-40B4-BE49-F238E27FC236}">
                <a16:creationId xmlns:a16="http://schemas.microsoft.com/office/drawing/2014/main" id="{AAFCDF0A-9937-44D7-B9EB-105ADC19E41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25466119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C4C68-A77A-49FC-BBCC-52AF0E381A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B24B372D-7498-45A8-AB24-97EE4ECE31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6AB75F60-830B-425C-9DE1-A28BFE089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9735E1-C20E-46F5-83AC-2005374E8251}"/>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FD87332D-297F-4EBC-9014-2903FED19B41}"/>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9CB55863-2FF9-4B71-90C8-E03573365E5C}"/>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71582591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B504-38E0-4237-942E-1C703A1594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8F38A1F6-4791-4A90-8485-4AF6263106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99BB831E-B9D2-4C44-B3C2-E82A94C9B9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A63661-0A88-401F-9369-DBA40CB4F57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42AB924B-A730-4FCC-8BFA-58BB1DA83815}"/>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CE4A5CF0-E0F7-4219-BC04-499F5AE7FE0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6564580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ADA69F-4589-4672-8616-E3533F4575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B318F830-A88B-417C-8A2D-2AEB6BB8AE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5EBCFEE2-B8EE-41F2-A69A-1D94610817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2CB80670-C582-4C8E-9F39-C9EA678927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A8CBA94A-8DF2-4615-B0F6-1F3F343DC4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A48181-2C78-49CB-8C52-912A07842C2E}" type="slidenum">
              <a:rPr lang="en-US" smtClean="0"/>
              <a:pPr/>
              <a:t>‹#›</a:t>
            </a:fld>
            <a:endParaRPr lang="en-US" dirty="0"/>
          </a:p>
        </p:txBody>
      </p:sp>
      <p:cxnSp>
        <p:nvCxnSpPr>
          <p:cNvPr id="7" name="Black Line">
            <a:extLst>
              <a:ext uri="{FF2B5EF4-FFF2-40B4-BE49-F238E27FC236}">
                <a16:creationId xmlns:a16="http://schemas.microsoft.com/office/drawing/2014/main" id="{6827BDAC-08DA-4FA3-8EC6-54C2F8737B26}"/>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LOGO">
            <a:extLst>
              <a:ext uri="{FF2B5EF4-FFF2-40B4-BE49-F238E27FC236}">
                <a16:creationId xmlns:a16="http://schemas.microsoft.com/office/drawing/2014/main" id="{23C13897-5E18-45BD-8EFA-CE7F8C799A60}"/>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Tree>
    <p:extLst>
      <p:ext uri="{BB962C8B-B14F-4D97-AF65-F5344CB8AC3E}">
        <p14:creationId xmlns:p14="http://schemas.microsoft.com/office/powerpoint/2010/main" val="2577336516"/>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6" r:id="rId12"/>
    <p:sldLayoutId id="2147483807" r:id="rId13"/>
  </p:sldLayoutIdLst>
  <p:transition>
    <p:fad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linux.die.net/man/3/malloc" TargetMode="External"/><Relationship Id="rId2" Type="http://schemas.openxmlformats.org/officeDocument/2006/relationships/hyperlink" Target="https://www.linuxjournal.com/article/6059" TargetMode="External"/><Relationship Id="rId1" Type="http://schemas.openxmlformats.org/officeDocument/2006/relationships/slideLayout" Target="../slideLayouts/slideLayout13.xml"/><Relationship Id="rId4" Type="http://schemas.openxmlformats.org/officeDocument/2006/relationships/hyperlink" Target="https://linux.die.net/man/3/fre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221AB15-BCA4-4312-9395-7F4805D55FF2}"/>
              </a:ext>
            </a:extLst>
          </p:cNvPr>
          <p:cNvSpPr>
            <a:spLocks noGrp="1"/>
          </p:cNvSpPr>
          <p:nvPr>
            <p:ph type="pic" sz="quarter" idx="15"/>
          </p:nvPr>
        </p:nvSpPr>
        <p:spPr/>
      </p:sp>
      <p:sp>
        <p:nvSpPr>
          <p:cNvPr id="2" name="Titel 1">
            <a:extLst>
              <a:ext uri="{FF2B5EF4-FFF2-40B4-BE49-F238E27FC236}">
                <a16:creationId xmlns:a16="http://schemas.microsoft.com/office/drawing/2014/main" id="{64748DDE-22AC-4993-98C8-1162B3666379}"/>
              </a:ext>
            </a:extLst>
          </p:cNvPr>
          <p:cNvSpPr>
            <a:spLocks noGrp="1"/>
          </p:cNvSpPr>
          <p:nvPr>
            <p:ph type="ctrTitle"/>
          </p:nvPr>
        </p:nvSpPr>
        <p:spPr/>
        <p:txBody>
          <a:bodyPr/>
          <a:lstStyle/>
          <a:p>
            <a:r>
              <a:rPr lang="es-MX" b="0" dirty="0"/>
              <a:t>Memoria</a:t>
            </a:r>
            <a:br>
              <a:rPr lang="es-MX" b="0" dirty="0"/>
            </a:br>
            <a:endParaRPr lang="en-US" dirty="0"/>
          </a:p>
        </p:txBody>
      </p:sp>
      <p:sp>
        <p:nvSpPr>
          <p:cNvPr id="3" name="Untertitel 2">
            <a:extLst>
              <a:ext uri="{FF2B5EF4-FFF2-40B4-BE49-F238E27FC236}">
                <a16:creationId xmlns:a16="http://schemas.microsoft.com/office/drawing/2014/main" id="{422279B9-E1B8-4446-B819-F18DD3C38166}"/>
              </a:ext>
            </a:extLst>
          </p:cNvPr>
          <p:cNvSpPr>
            <a:spLocks noGrp="1"/>
          </p:cNvSpPr>
          <p:nvPr>
            <p:ph type="subTitle" idx="1"/>
          </p:nvPr>
        </p:nvSpPr>
        <p:spPr/>
        <p:txBody>
          <a:bodyPr/>
          <a:lstStyle/>
          <a:p>
            <a:r>
              <a:rPr lang="es-MX" sz="1400" dirty="0"/>
              <a:t>Memoria virtual, paginación, espacios de usuario y </a:t>
            </a:r>
            <a:r>
              <a:rPr lang="es-MX" sz="1400" dirty="0" err="1"/>
              <a:t>kernel</a:t>
            </a:r>
            <a:r>
              <a:rPr lang="es-MX" sz="1400" dirty="0"/>
              <a:t>, fugas de memoria.  </a:t>
            </a:r>
          </a:p>
        </p:txBody>
      </p:sp>
      <p:sp>
        <p:nvSpPr>
          <p:cNvPr id="4" name="Textplatzhalter 3">
            <a:extLst>
              <a:ext uri="{FF2B5EF4-FFF2-40B4-BE49-F238E27FC236}">
                <a16:creationId xmlns:a16="http://schemas.microsoft.com/office/drawing/2014/main" id="{56FB1EEF-34FE-4B44-AC52-94F1AC20BFEE}"/>
              </a:ext>
            </a:extLst>
          </p:cNvPr>
          <p:cNvSpPr>
            <a:spLocks noGrp="1"/>
          </p:cNvSpPr>
          <p:nvPr>
            <p:ph type="body" sz="quarter" idx="10"/>
          </p:nvPr>
        </p:nvSpPr>
        <p:spPr/>
        <p:txBody>
          <a:bodyPr/>
          <a:lstStyle/>
          <a:p>
            <a:endParaRPr lang="en-US" dirty="0"/>
          </a:p>
        </p:txBody>
      </p:sp>
      <p:sp>
        <p:nvSpPr>
          <p:cNvPr id="5" name="Textplatzhalter 4">
            <a:extLst>
              <a:ext uri="{FF2B5EF4-FFF2-40B4-BE49-F238E27FC236}">
                <a16:creationId xmlns:a16="http://schemas.microsoft.com/office/drawing/2014/main" id="{B4608FC4-9DED-4A67-8256-57A3DA0A44E1}"/>
              </a:ext>
            </a:extLst>
          </p:cNvPr>
          <p:cNvSpPr>
            <a:spLocks noGrp="1"/>
          </p:cNvSpPr>
          <p:nvPr>
            <p:ph type="body" sz="quarter" idx="11"/>
          </p:nvPr>
        </p:nvSpPr>
        <p:spPr/>
        <p:txBody>
          <a:bodyPr/>
          <a:lstStyle/>
          <a:p>
            <a:endParaRPr lang="en-US" dirty="0"/>
          </a:p>
        </p:txBody>
      </p:sp>
      <p:sp>
        <p:nvSpPr>
          <p:cNvPr id="6" name="Textplatzhalter 5">
            <a:extLst>
              <a:ext uri="{FF2B5EF4-FFF2-40B4-BE49-F238E27FC236}">
                <a16:creationId xmlns:a16="http://schemas.microsoft.com/office/drawing/2014/main" id="{022C2FDA-1108-43ED-A4D1-43EEA32FC193}"/>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42355868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26ED47-A529-4881-892B-DFC56543D4B8}"/>
              </a:ext>
            </a:extLst>
          </p:cNvPr>
          <p:cNvSpPr>
            <a:spLocks noGrp="1"/>
          </p:cNvSpPr>
          <p:nvPr>
            <p:ph sz="quarter" idx="13"/>
          </p:nvPr>
        </p:nvSpPr>
        <p:spPr>
          <a:xfrm>
            <a:off x="2963652" y="1825625"/>
            <a:ext cx="8390148" cy="4351338"/>
          </a:xfrm>
        </p:spPr>
        <p:txBody>
          <a:bodyPr/>
          <a:lstStyle/>
          <a:p>
            <a:pPr lvl="1"/>
            <a:r>
              <a:rPr lang="es-MX" sz="2800" dirty="0"/>
              <a:t>Montículo o </a:t>
            </a:r>
            <a:r>
              <a:rPr lang="es-MX" sz="2800" i="1" dirty="0" err="1"/>
              <a:t>heap</a:t>
            </a:r>
            <a:r>
              <a:rPr lang="es-MX" sz="2800" dirty="0"/>
              <a:t>: La memoria asignada dinámicamente mediante llamadas al sistema se encuentra en esta área.</a:t>
            </a:r>
            <a:endParaRPr lang="es-MX" sz="2800" i="1" dirty="0"/>
          </a:p>
          <a:p>
            <a:pPr lvl="1"/>
            <a:r>
              <a:rPr lang="es-MX" sz="2800" dirty="0"/>
              <a:t>Pila: Es utilizada cada vez que se hace una llamada a función para almacenar las direcciones de retorno, los valores de los registros del CPU a en el momento , los argumentos de la función llamada y sus variables</a:t>
            </a:r>
          </a:p>
          <a:p>
            <a:endParaRPr lang="es-MX" dirty="0"/>
          </a:p>
        </p:txBody>
      </p:sp>
      <p:sp>
        <p:nvSpPr>
          <p:cNvPr id="3" name="Title 2">
            <a:extLst>
              <a:ext uri="{FF2B5EF4-FFF2-40B4-BE49-F238E27FC236}">
                <a16:creationId xmlns:a16="http://schemas.microsoft.com/office/drawing/2014/main" id="{3A73BC7B-47F9-486A-A3DD-B710F941E5D5}"/>
              </a:ext>
            </a:extLst>
          </p:cNvPr>
          <p:cNvSpPr>
            <a:spLocks noGrp="1"/>
          </p:cNvSpPr>
          <p:nvPr>
            <p:ph type="title"/>
          </p:nvPr>
        </p:nvSpPr>
        <p:spPr>
          <a:xfrm>
            <a:off x="2963652" y="365125"/>
            <a:ext cx="8390148" cy="1325563"/>
          </a:xfrm>
        </p:spPr>
        <p:txBody>
          <a:bodyPr/>
          <a:lstStyle/>
          <a:p>
            <a:r>
              <a:rPr lang="es-MX" dirty="0"/>
              <a:t>Espacio de direcciones virtuales de un proceso </a:t>
            </a:r>
            <a:r>
              <a:rPr lang="es-MX" i="1" dirty="0"/>
              <a:t>continuación</a:t>
            </a:r>
          </a:p>
        </p:txBody>
      </p:sp>
      <p:sp>
        <p:nvSpPr>
          <p:cNvPr id="4" name="Date Placeholder 3">
            <a:extLst>
              <a:ext uri="{FF2B5EF4-FFF2-40B4-BE49-F238E27FC236}">
                <a16:creationId xmlns:a16="http://schemas.microsoft.com/office/drawing/2014/main" id="{5F8F438E-A4AC-4071-97EF-F294A3A8D31E}"/>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EC614B88-3520-4D0B-BAE8-A4BDEE3FE46F}"/>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DAB3C2B3-9482-4DFA-9421-ABFD16E52B57}"/>
              </a:ext>
            </a:extLst>
          </p:cNvPr>
          <p:cNvSpPr>
            <a:spLocks noGrp="1"/>
          </p:cNvSpPr>
          <p:nvPr>
            <p:ph type="sldNum" sz="quarter" idx="16"/>
          </p:nvPr>
        </p:nvSpPr>
        <p:spPr/>
        <p:txBody>
          <a:bodyPr/>
          <a:lstStyle/>
          <a:p>
            <a:fld id="{ADA48181-2C78-49CB-8C52-912A07842C2E}" type="slidenum">
              <a:rPr lang="en-US" smtClean="0"/>
              <a:pPr/>
              <a:t>10</a:t>
            </a:fld>
            <a:endParaRPr lang="en-US" dirty="0"/>
          </a:p>
        </p:txBody>
      </p:sp>
      <p:pic>
        <p:nvPicPr>
          <p:cNvPr id="7" name="Content Placeholder 8" descr="Chart&#10;&#10;Description automatically generated with medium confidence">
            <a:extLst>
              <a:ext uri="{FF2B5EF4-FFF2-40B4-BE49-F238E27FC236}">
                <a16:creationId xmlns:a16="http://schemas.microsoft.com/office/drawing/2014/main" id="{9D4CFF5D-9469-4178-BB78-1B0A83BA6A0F}"/>
              </a:ext>
            </a:extLst>
          </p:cNvPr>
          <p:cNvPicPr>
            <a:picLocks noChangeAspect="1"/>
          </p:cNvPicPr>
          <p:nvPr/>
        </p:nvPicPr>
        <p:blipFill>
          <a:blip r:embed="rId3"/>
          <a:stretch>
            <a:fillRect/>
          </a:stretch>
        </p:blipFill>
        <p:spPr>
          <a:xfrm>
            <a:off x="381000" y="299058"/>
            <a:ext cx="2626402" cy="6057292"/>
          </a:xfrm>
          <a:prstGeom prst="rect">
            <a:avLst/>
          </a:prstGeom>
        </p:spPr>
      </p:pic>
    </p:spTree>
    <p:extLst>
      <p:ext uri="{BB962C8B-B14F-4D97-AF65-F5344CB8AC3E}">
        <p14:creationId xmlns:p14="http://schemas.microsoft.com/office/powerpoint/2010/main" val="397020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052609" cy="4572000"/>
          </a:xfrm>
        </p:spPr>
        <p:txBody>
          <a:bodyPr/>
          <a:lstStyle/>
          <a:p>
            <a:r>
              <a:rPr lang="es-MX" dirty="0"/>
              <a:t>La fuga de memoria (</a:t>
            </a:r>
            <a:r>
              <a:rPr lang="es-MX" dirty="0" err="1"/>
              <a:t>memory</a:t>
            </a:r>
            <a:r>
              <a:rPr lang="es-MX" dirty="0"/>
              <a:t> </a:t>
            </a:r>
            <a:r>
              <a:rPr lang="es-MX" dirty="0" err="1"/>
              <a:t>leak</a:t>
            </a:r>
            <a:r>
              <a:rPr lang="es-MX" dirty="0"/>
              <a:t>) es uno de los problemas de sistemas embebidos. Estos se ocasionan cuando programas realizan alojamiento dinámico de memoria de manera indiscriminada sin liberarla o solicitando cantidades excesivas que puedan ocasionar que dicho recurso se agote para el sistema [12].</a:t>
            </a:r>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Fuga de memoria</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1</a:t>
            </a:fld>
            <a:endParaRPr lang="en-US" dirty="0"/>
          </a:p>
        </p:txBody>
      </p:sp>
    </p:spTree>
    <p:extLst>
      <p:ext uri="{BB962C8B-B14F-4D97-AF65-F5344CB8AC3E}">
        <p14:creationId xmlns:p14="http://schemas.microsoft.com/office/powerpoint/2010/main" val="37120547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052609" cy="4572000"/>
          </a:xfrm>
        </p:spPr>
        <p:txBody>
          <a:bodyPr/>
          <a:lstStyle/>
          <a:p>
            <a:r>
              <a:rPr lang="es-MX" dirty="0"/>
              <a:t>La manera de pedir memoria dinámica es a través de </a:t>
            </a:r>
            <a:r>
              <a:rPr lang="es-MX" dirty="0" err="1"/>
              <a:t>malloc</a:t>
            </a:r>
            <a:r>
              <a:rPr lang="es-MX" dirty="0"/>
              <a:t> [13]</a:t>
            </a:r>
          </a:p>
          <a:p>
            <a:pPr marL="457200" lvl="1" indent="0">
              <a:buNone/>
            </a:pPr>
            <a:r>
              <a:rPr lang="en-US" dirty="0"/>
              <a:t>void *malloc(</a:t>
            </a:r>
            <a:r>
              <a:rPr lang="en-US" dirty="0" err="1"/>
              <a:t>size_t</a:t>
            </a:r>
            <a:r>
              <a:rPr lang="en-US" dirty="0"/>
              <a:t> size);</a:t>
            </a:r>
          </a:p>
          <a:p>
            <a:r>
              <a:rPr lang="en-US" dirty="0"/>
              <a:t>La function </a:t>
            </a:r>
            <a:r>
              <a:rPr lang="en-US" dirty="0" err="1"/>
              <a:t>recibe</a:t>
            </a:r>
            <a:r>
              <a:rPr lang="en-US" dirty="0"/>
              <a:t> </a:t>
            </a:r>
            <a:r>
              <a:rPr lang="en-US" dirty="0" err="1"/>
              <a:t>el</a:t>
            </a:r>
            <a:r>
              <a:rPr lang="en-US" dirty="0"/>
              <a:t> </a:t>
            </a:r>
            <a:r>
              <a:rPr lang="en-US" dirty="0" err="1"/>
              <a:t>numero</a:t>
            </a:r>
            <a:r>
              <a:rPr lang="en-US" dirty="0"/>
              <a:t> de bytes de </a:t>
            </a:r>
            <a:r>
              <a:rPr lang="en-US" dirty="0" err="1"/>
              <a:t>memoria</a:t>
            </a:r>
            <a:r>
              <a:rPr lang="en-US" dirty="0"/>
              <a:t> para </a:t>
            </a:r>
            <a:r>
              <a:rPr lang="en-US" dirty="0" err="1"/>
              <a:t>alojar</a:t>
            </a:r>
            <a:r>
              <a:rPr lang="en-US" dirty="0"/>
              <a:t> y </a:t>
            </a:r>
            <a:r>
              <a:rPr lang="en-US" dirty="0" err="1"/>
              <a:t>recibe</a:t>
            </a:r>
            <a:r>
              <a:rPr lang="en-US" dirty="0"/>
              <a:t> un </a:t>
            </a:r>
            <a:r>
              <a:rPr lang="en-US" dirty="0" err="1"/>
              <a:t>puntero</a:t>
            </a:r>
            <a:r>
              <a:rPr lang="en-US" dirty="0"/>
              <a:t> a la </a:t>
            </a:r>
            <a:r>
              <a:rPr lang="en-US" dirty="0" err="1"/>
              <a:t>memoria</a:t>
            </a:r>
            <a:r>
              <a:rPr lang="en-US" dirty="0"/>
              <a:t> </a:t>
            </a:r>
            <a:r>
              <a:rPr lang="en-US" dirty="0" err="1"/>
              <a:t>asignada</a:t>
            </a:r>
            <a:endParaRPr lang="en-US" dirty="0"/>
          </a:p>
          <a:p>
            <a:r>
              <a:rPr lang="en-US" dirty="0"/>
              <a:t>Una </a:t>
            </a:r>
            <a:r>
              <a:rPr lang="en-US" dirty="0" err="1"/>
              <a:t>practica</a:t>
            </a:r>
            <a:r>
              <a:rPr lang="en-US" dirty="0"/>
              <a:t> </a:t>
            </a:r>
            <a:r>
              <a:rPr lang="en-US" dirty="0" err="1"/>
              <a:t>comun</a:t>
            </a:r>
            <a:r>
              <a:rPr lang="en-US" dirty="0"/>
              <a:t> es usar </a:t>
            </a:r>
            <a:r>
              <a:rPr lang="en-US" dirty="0" err="1"/>
              <a:t>sizeof</a:t>
            </a:r>
            <a:r>
              <a:rPr lang="en-US" dirty="0"/>
              <a:t> para </a:t>
            </a:r>
            <a:r>
              <a:rPr lang="en-US" dirty="0" err="1"/>
              <a:t>determinar</a:t>
            </a:r>
            <a:r>
              <a:rPr lang="en-US" dirty="0"/>
              <a:t> </a:t>
            </a:r>
            <a:r>
              <a:rPr lang="en-US" dirty="0" err="1"/>
              <a:t>el</a:t>
            </a:r>
            <a:r>
              <a:rPr lang="en-US" dirty="0"/>
              <a:t> </a:t>
            </a:r>
            <a:r>
              <a:rPr lang="en-US" dirty="0" err="1"/>
              <a:t>tamaño</a:t>
            </a:r>
            <a:r>
              <a:rPr lang="en-US" dirty="0"/>
              <a:t> de la variable a la </a:t>
            </a:r>
            <a:r>
              <a:rPr lang="en-US" dirty="0" err="1"/>
              <a:t>cual</a:t>
            </a:r>
            <a:r>
              <a:rPr lang="en-US" dirty="0"/>
              <a:t> se le </a:t>
            </a:r>
            <a:r>
              <a:rPr lang="en-US" dirty="0" err="1"/>
              <a:t>asignara</a:t>
            </a:r>
            <a:r>
              <a:rPr lang="en-US" dirty="0"/>
              <a:t> la </a:t>
            </a:r>
            <a:r>
              <a:rPr lang="en-US" dirty="0" err="1"/>
              <a:t>memoria</a:t>
            </a:r>
            <a:r>
              <a:rPr lang="en-US" dirty="0"/>
              <a:t>.</a:t>
            </a:r>
          </a:p>
          <a:p>
            <a:pPr lvl="1" indent="0">
              <a:buNone/>
            </a:pPr>
            <a:r>
              <a:rPr lang="en-US" dirty="0"/>
              <a:t>char * var = malloc(</a:t>
            </a:r>
            <a:r>
              <a:rPr lang="en-US" dirty="0" err="1"/>
              <a:t>sizeof</a:t>
            </a:r>
            <a:r>
              <a:rPr lang="en-US" dirty="0"/>
              <a:t>(char));</a:t>
            </a:r>
          </a:p>
          <a:p>
            <a:endParaRPr lang="en-US" dirty="0"/>
          </a:p>
          <a:p>
            <a:endParaRPr lang="en-US" dirty="0"/>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Fuga de memoria</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2</a:t>
            </a:fld>
            <a:endParaRPr lang="en-US" dirty="0"/>
          </a:p>
        </p:txBody>
      </p:sp>
    </p:spTree>
    <p:extLst>
      <p:ext uri="{BB962C8B-B14F-4D97-AF65-F5344CB8AC3E}">
        <p14:creationId xmlns:p14="http://schemas.microsoft.com/office/powerpoint/2010/main" val="23399378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052609" cy="4572000"/>
          </a:xfrm>
        </p:spPr>
        <p:txBody>
          <a:bodyPr/>
          <a:lstStyle/>
          <a:p>
            <a:r>
              <a:rPr lang="es-MX" dirty="0"/>
              <a:t>La manera de liberar la memoria solicitada es a través de free [14]</a:t>
            </a:r>
          </a:p>
          <a:p>
            <a:pPr marL="457200" lvl="1" indent="0">
              <a:buNone/>
            </a:pPr>
            <a:r>
              <a:rPr lang="en-US" dirty="0"/>
              <a:t>void free(void *</a:t>
            </a:r>
            <a:r>
              <a:rPr lang="en-US" dirty="0" err="1"/>
              <a:t>ptr</a:t>
            </a:r>
            <a:r>
              <a:rPr lang="en-US" dirty="0"/>
              <a:t>);</a:t>
            </a:r>
          </a:p>
          <a:p>
            <a:r>
              <a:rPr lang="en-US" dirty="0"/>
              <a:t>La function </a:t>
            </a:r>
            <a:r>
              <a:rPr lang="en-US" dirty="0" err="1"/>
              <a:t>recibe</a:t>
            </a:r>
            <a:r>
              <a:rPr lang="en-US" dirty="0"/>
              <a:t> un </a:t>
            </a:r>
            <a:r>
              <a:rPr lang="en-US" dirty="0" err="1"/>
              <a:t>puntero</a:t>
            </a:r>
            <a:r>
              <a:rPr lang="en-US" dirty="0"/>
              <a:t>, </a:t>
            </a:r>
            <a:r>
              <a:rPr lang="en-US" dirty="0" err="1"/>
              <a:t>previamente</a:t>
            </a:r>
            <a:r>
              <a:rPr lang="en-US" dirty="0"/>
              <a:t> </a:t>
            </a:r>
            <a:r>
              <a:rPr lang="en-US" dirty="0" err="1"/>
              <a:t>generado</a:t>
            </a:r>
            <a:r>
              <a:rPr lang="en-US" dirty="0"/>
              <a:t> por malloc, para </a:t>
            </a:r>
            <a:r>
              <a:rPr lang="en-US" dirty="0" err="1"/>
              <a:t>liberar</a:t>
            </a:r>
            <a:r>
              <a:rPr lang="en-US" dirty="0"/>
              <a:t> la </a:t>
            </a:r>
            <a:r>
              <a:rPr lang="en-US" dirty="0" err="1"/>
              <a:t>memoria</a:t>
            </a:r>
            <a:r>
              <a:rPr lang="en-US" dirty="0"/>
              <a:t> </a:t>
            </a:r>
            <a:r>
              <a:rPr lang="en-US" dirty="0" err="1"/>
              <a:t>solicitada</a:t>
            </a:r>
            <a:r>
              <a:rPr lang="en-US" dirty="0"/>
              <a:t>.</a:t>
            </a:r>
          </a:p>
          <a:p>
            <a:r>
              <a:rPr lang="en-US" dirty="0"/>
              <a:t>El </a:t>
            </a:r>
            <a:r>
              <a:rPr lang="en-US" dirty="0" err="1"/>
              <a:t>invocar</a:t>
            </a:r>
            <a:r>
              <a:rPr lang="en-US" dirty="0"/>
              <a:t> malloc sin </a:t>
            </a:r>
            <a:r>
              <a:rPr lang="en-US" dirty="0" err="1"/>
              <a:t>invocar</a:t>
            </a:r>
            <a:r>
              <a:rPr lang="en-US" dirty="0"/>
              <a:t> free genera </a:t>
            </a:r>
            <a:r>
              <a:rPr lang="en-US" dirty="0" err="1"/>
              <a:t>fugas</a:t>
            </a:r>
            <a:r>
              <a:rPr lang="en-US" dirty="0"/>
              <a:t> de </a:t>
            </a:r>
            <a:r>
              <a:rPr lang="en-US" dirty="0" err="1"/>
              <a:t>memoria</a:t>
            </a:r>
            <a:endParaRPr lang="en-US" dirty="0"/>
          </a:p>
          <a:p>
            <a:r>
              <a:rPr lang="en-US" dirty="0"/>
              <a:t>El </a:t>
            </a:r>
            <a:r>
              <a:rPr lang="en-US" dirty="0" err="1"/>
              <a:t>invocar</a:t>
            </a:r>
            <a:r>
              <a:rPr lang="en-US" dirty="0"/>
              <a:t> free de nuevo </a:t>
            </a:r>
            <a:r>
              <a:rPr lang="en-US" dirty="0" err="1"/>
              <a:t>sobre</a:t>
            </a:r>
            <a:r>
              <a:rPr lang="en-US" dirty="0"/>
              <a:t> un </a:t>
            </a:r>
            <a:r>
              <a:rPr lang="en-US" dirty="0" err="1"/>
              <a:t>puntero</a:t>
            </a:r>
            <a:r>
              <a:rPr lang="en-US" dirty="0"/>
              <a:t> </a:t>
            </a:r>
            <a:r>
              <a:rPr lang="en-US" dirty="0" err="1"/>
              <a:t>ya</a:t>
            </a:r>
            <a:r>
              <a:rPr lang="en-US" dirty="0"/>
              <a:t> </a:t>
            </a:r>
            <a:r>
              <a:rPr lang="en-US" dirty="0" err="1"/>
              <a:t>liberado</a:t>
            </a:r>
            <a:r>
              <a:rPr lang="en-US" dirty="0"/>
              <a:t> </a:t>
            </a:r>
            <a:r>
              <a:rPr lang="en-US" dirty="0" err="1"/>
              <a:t>ocasiona</a:t>
            </a:r>
            <a:r>
              <a:rPr lang="en-US" dirty="0"/>
              <a:t> un error de </a:t>
            </a:r>
            <a:r>
              <a:rPr lang="en-US" dirty="0" err="1"/>
              <a:t>ejecucion</a:t>
            </a:r>
            <a:r>
              <a:rPr lang="en-US" dirty="0"/>
              <a:t> </a:t>
            </a:r>
            <a:r>
              <a:rPr lang="en-US" dirty="0" err="1"/>
              <a:t>llamado</a:t>
            </a:r>
            <a:r>
              <a:rPr lang="en-US" dirty="0"/>
              <a:t> “double free”</a:t>
            </a:r>
          </a:p>
          <a:p>
            <a:pPr marL="457200" lvl="1" indent="0">
              <a:buNone/>
            </a:pPr>
            <a:r>
              <a:rPr lang="en-US" i="1" dirty="0"/>
              <a:t>free(): double free detected in </a:t>
            </a:r>
            <a:r>
              <a:rPr lang="en-US" i="1" dirty="0" err="1"/>
              <a:t>tcache</a:t>
            </a:r>
            <a:r>
              <a:rPr lang="en-US" i="1" dirty="0"/>
              <a:t> 2</a:t>
            </a:r>
          </a:p>
          <a:p>
            <a:pPr marL="457200" lvl="1" indent="0">
              <a:buNone/>
            </a:pPr>
            <a:r>
              <a:rPr lang="en-US" i="1" dirty="0"/>
              <a:t>Aborted</a:t>
            </a:r>
            <a:endParaRPr lang="es-MX" i="1"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Fuga de memoria</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3</a:t>
            </a:fld>
            <a:endParaRPr lang="en-US" dirty="0"/>
          </a:p>
        </p:txBody>
      </p:sp>
    </p:spTree>
    <p:extLst>
      <p:ext uri="{BB962C8B-B14F-4D97-AF65-F5344CB8AC3E}">
        <p14:creationId xmlns:p14="http://schemas.microsoft.com/office/powerpoint/2010/main" val="18871272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052609" cy="4572000"/>
          </a:xfrm>
        </p:spPr>
        <p:txBody>
          <a:bodyPr/>
          <a:lstStyle/>
          <a:p>
            <a:r>
              <a:rPr lang="es-MX" dirty="0"/>
              <a:t>Otra de las razones por las cuales la fuga de memoria podría ocurrir es cuando el puntero que contenía la memoria alojada se ha perdido. Ejemplo:</a:t>
            </a:r>
          </a:p>
          <a:p>
            <a:pPr marL="457200" lvl="1" indent="0">
              <a:buNone/>
            </a:pPr>
            <a:r>
              <a:rPr lang="es-MX" i="1" dirty="0" err="1"/>
              <a:t>char</a:t>
            </a:r>
            <a:r>
              <a:rPr lang="es-MX" i="1" dirty="0"/>
              <a:t> *</a:t>
            </a:r>
            <a:r>
              <a:rPr lang="es-MX" i="1" dirty="0" err="1"/>
              <a:t>var</a:t>
            </a:r>
            <a:r>
              <a:rPr lang="es-MX" i="1" dirty="0"/>
              <a:t> = </a:t>
            </a:r>
            <a:r>
              <a:rPr lang="es-MX" i="1" dirty="0" err="1"/>
              <a:t>malloc</a:t>
            </a:r>
            <a:r>
              <a:rPr lang="es-MX" i="1" dirty="0"/>
              <a:t>(</a:t>
            </a:r>
            <a:r>
              <a:rPr lang="es-MX" i="1" dirty="0" err="1"/>
              <a:t>sizeof</a:t>
            </a:r>
            <a:r>
              <a:rPr lang="es-MX" i="1" dirty="0"/>
              <a:t>(</a:t>
            </a:r>
            <a:r>
              <a:rPr lang="es-MX" i="1" dirty="0" err="1"/>
              <a:t>char</a:t>
            </a:r>
            <a:r>
              <a:rPr lang="es-MX" i="1" dirty="0"/>
              <a:t>));</a:t>
            </a:r>
          </a:p>
          <a:p>
            <a:pPr marL="457200" lvl="1" indent="0">
              <a:buNone/>
            </a:pPr>
            <a:r>
              <a:rPr lang="es-MX" i="1" dirty="0" err="1"/>
              <a:t>var</a:t>
            </a:r>
            <a:r>
              <a:rPr lang="es-MX" i="1" dirty="0"/>
              <a:t> = NULL; </a:t>
            </a:r>
          </a:p>
          <a:p>
            <a:r>
              <a:rPr lang="es-MX" dirty="0"/>
              <a:t>Aquí la memoria se pierde al asignar la variable </a:t>
            </a:r>
            <a:r>
              <a:rPr lang="es-MX" dirty="0" err="1"/>
              <a:t>var</a:t>
            </a:r>
            <a:r>
              <a:rPr lang="es-MX" dirty="0"/>
              <a:t>, el valor de NULL. Ya no hay manera de referenciar a la memoria solicitada y liberarla.</a:t>
            </a:r>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Fuga de memoria</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4</a:t>
            </a:fld>
            <a:endParaRPr lang="en-US" dirty="0"/>
          </a:p>
        </p:txBody>
      </p:sp>
    </p:spTree>
    <p:extLst>
      <p:ext uri="{BB962C8B-B14F-4D97-AF65-F5344CB8AC3E}">
        <p14:creationId xmlns:p14="http://schemas.microsoft.com/office/powerpoint/2010/main" val="139432691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p:txBody>
          <a:bodyPr>
            <a:normAutofit/>
          </a:bodyPr>
          <a:lstStyle/>
          <a:p>
            <a:r>
              <a:rPr lang="es-MX" dirty="0"/>
              <a:t>[12] </a:t>
            </a:r>
            <a:r>
              <a:rPr lang="es-MX" dirty="0">
                <a:hlinkClick r:id="rId2"/>
              </a:rPr>
              <a:t>https://www.linuxjournal.com/article/6059</a:t>
            </a:r>
            <a:r>
              <a:rPr lang="es-MX" dirty="0"/>
              <a:t> </a:t>
            </a:r>
          </a:p>
          <a:p>
            <a:r>
              <a:rPr lang="es-MX" dirty="0"/>
              <a:t>[13] </a:t>
            </a:r>
            <a:r>
              <a:rPr lang="es-MX" dirty="0">
                <a:hlinkClick r:id="rId3"/>
              </a:rPr>
              <a:t>https://linux.die.net/man/3/malloc</a:t>
            </a:r>
            <a:r>
              <a:rPr lang="es-MX" dirty="0"/>
              <a:t> </a:t>
            </a:r>
          </a:p>
          <a:p>
            <a:r>
              <a:rPr lang="es-MX" dirty="0"/>
              <a:t>[14] </a:t>
            </a:r>
            <a:r>
              <a:rPr lang="es-MX" dirty="0">
                <a:hlinkClick r:id="rId4"/>
              </a:rPr>
              <a:t>https://linux.die.net/man/3/free</a:t>
            </a:r>
            <a:endParaRPr lang="es-MX" dirty="0"/>
          </a:p>
          <a:p>
            <a:endParaRPr lang="es-MX" dirty="0"/>
          </a:p>
          <a:p>
            <a:endParaRPr lang="es-MX" dirty="0"/>
          </a:p>
          <a:p>
            <a:endParaRPr lang="es-MX" dirty="0"/>
          </a:p>
          <a:p>
            <a:endParaRPr lang="es-MX" dirty="0"/>
          </a:p>
          <a:p>
            <a:endParaRPr lang="en-US" dirty="0"/>
          </a:p>
          <a:p>
            <a:endParaRPr lang="en-US" dirty="0"/>
          </a:p>
          <a:p>
            <a:endParaRPr lang="en-US" dirty="0"/>
          </a:p>
          <a:p>
            <a:endParaRPr lang="es-MX" dirty="0"/>
          </a:p>
          <a:p>
            <a:endParaRPr lang="es-MX" dirty="0"/>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Referencia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5</a:t>
            </a:fld>
            <a:endParaRPr lang="en-US" dirty="0"/>
          </a:p>
        </p:txBody>
      </p:sp>
    </p:spTree>
    <p:extLst>
      <p:ext uri="{BB962C8B-B14F-4D97-AF65-F5344CB8AC3E}">
        <p14:creationId xmlns:p14="http://schemas.microsoft.com/office/powerpoint/2010/main" val="9425695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5A8606-8F57-4703-82BA-91CA5989B75D}"/>
              </a:ext>
            </a:extLst>
          </p:cNvPr>
          <p:cNvSpPr>
            <a:spLocks noGrp="1"/>
          </p:cNvSpPr>
          <p:nvPr>
            <p:ph sz="quarter" idx="13"/>
          </p:nvPr>
        </p:nvSpPr>
        <p:spPr/>
        <p:txBody>
          <a:bodyPr/>
          <a:lstStyle/>
          <a:p>
            <a:endParaRPr lang="es-MX"/>
          </a:p>
        </p:txBody>
      </p:sp>
      <p:sp>
        <p:nvSpPr>
          <p:cNvPr id="3" name="Title 2">
            <a:extLst>
              <a:ext uri="{FF2B5EF4-FFF2-40B4-BE49-F238E27FC236}">
                <a16:creationId xmlns:a16="http://schemas.microsoft.com/office/drawing/2014/main" id="{0F552BD9-EB63-41E2-AB09-83DBD91E5CA1}"/>
              </a:ext>
            </a:extLst>
          </p:cNvPr>
          <p:cNvSpPr>
            <a:spLocks noGrp="1"/>
          </p:cNvSpPr>
          <p:nvPr>
            <p:ph type="title"/>
          </p:nvPr>
        </p:nvSpPr>
        <p:spPr/>
        <p:txBody>
          <a:bodyPr/>
          <a:lstStyle/>
          <a:p>
            <a:r>
              <a:rPr lang="es-MX" dirty="0"/>
              <a:t>Gracias!</a:t>
            </a:r>
          </a:p>
        </p:txBody>
      </p:sp>
      <p:sp>
        <p:nvSpPr>
          <p:cNvPr id="4" name="Date Placeholder 3">
            <a:extLst>
              <a:ext uri="{FF2B5EF4-FFF2-40B4-BE49-F238E27FC236}">
                <a16:creationId xmlns:a16="http://schemas.microsoft.com/office/drawing/2014/main" id="{6EA4497D-1822-497D-B58A-55B6908786D2}"/>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858A0F5-D13E-4E45-8B7A-A3E87F256FAF}"/>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17AB32B5-D253-4EA8-95AF-E339B2AFA7E1}"/>
              </a:ext>
            </a:extLst>
          </p:cNvPr>
          <p:cNvSpPr>
            <a:spLocks noGrp="1"/>
          </p:cNvSpPr>
          <p:nvPr>
            <p:ph type="sldNum" sz="quarter" idx="16"/>
          </p:nvPr>
        </p:nvSpPr>
        <p:spPr/>
        <p:txBody>
          <a:bodyPr/>
          <a:lstStyle/>
          <a:p>
            <a:fld id="{ADA48181-2C78-49CB-8C52-912A07842C2E}" type="slidenum">
              <a:rPr lang="en-US" smtClean="0"/>
              <a:pPr/>
              <a:t>16</a:t>
            </a:fld>
            <a:endParaRPr lang="en-US" dirty="0"/>
          </a:p>
        </p:txBody>
      </p:sp>
    </p:spTree>
    <p:extLst>
      <p:ext uri="{BB962C8B-B14F-4D97-AF65-F5344CB8AC3E}">
        <p14:creationId xmlns:p14="http://schemas.microsoft.com/office/powerpoint/2010/main" val="14187084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4239" y="1369929"/>
            <a:ext cx="11124617" cy="4572000"/>
          </a:xfrm>
        </p:spPr>
        <p:txBody>
          <a:bodyPr/>
          <a:lstStyle/>
          <a:p>
            <a:r>
              <a:rPr lang="es-MX" dirty="0"/>
              <a:t>Memoria Virtual: Provee una capa de abstracción entre la memoria solicitada por las aplicaciones y la memoria “física” administrada por las </a:t>
            </a:r>
            <a:r>
              <a:rPr lang="es-MX" dirty="0" err="1"/>
              <a:t>MMU’s</a:t>
            </a:r>
            <a:endParaRPr lang="es-MX" dirty="0"/>
          </a:p>
          <a:p>
            <a:endParaRPr lang="es-MX" dirty="0"/>
          </a:p>
          <a:p>
            <a:pPr marL="457200" indent="-457200">
              <a:buFont typeface="Arial" panose="020B0604020202020204" pitchFamily="34" charset="0"/>
              <a:buChar char="•"/>
            </a:pPr>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Memoria en Linux</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2</a:t>
            </a:fld>
            <a:endParaRPr lang="en-US" dirty="0"/>
          </a:p>
        </p:txBody>
      </p:sp>
      <p:pic>
        <p:nvPicPr>
          <p:cNvPr id="1028" name="Picture 4">
            <a:extLst>
              <a:ext uri="{FF2B5EF4-FFF2-40B4-BE49-F238E27FC236}">
                <a16:creationId xmlns:a16="http://schemas.microsoft.com/office/drawing/2014/main" id="{9682272C-1C95-4E1A-BC6B-F5515D6281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2555405"/>
            <a:ext cx="4875966" cy="3386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95669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06D6BD-526C-45EC-A3F9-BDAE42B6A5CB}"/>
              </a:ext>
            </a:extLst>
          </p:cNvPr>
          <p:cNvSpPr>
            <a:spLocks noGrp="1"/>
          </p:cNvSpPr>
          <p:nvPr>
            <p:ph sz="quarter" idx="13"/>
          </p:nvPr>
        </p:nvSpPr>
        <p:spPr/>
        <p:txBody>
          <a:bodyPr>
            <a:normAutofit fontScale="92500" lnSpcReduction="20000"/>
          </a:bodyPr>
          <a:lstStyle/>
          <a:p>
            <a:pPr marL="457200" indent="-457200">
              <a:buFont typeface="Arial" panose="020B0604020202020204" pitchFamily="34" charset="0"/>
              <a:buChar char="•"/>
            </a:pPr>
            <a:r>
              <a:rPr lang="es-MX" dirty="0"/>
              <a:t>Es posible que ejecutar aplicaciones cuyas necesitades de memoria sean mas grandes que la memoria física disponible.</a:t>
            </a:r>
          </a:p>
          <a:p>
            <a:pPr marL="457200" indent="-457200">
              <a:buFont typeface="Arial" panose="020B0604020202020204" pitchFamily="34" charset="0"/>
              <a:buChar char="•"/>
            </a:pPr>
            <a:r>
              <a:rPr lang="es-MX" dirty="0"/>
              <a:t>Los procesos pueden ejecutar un programa cuyo código solo se encuentre parcialmente cargado en memoria.</a:t>
            </a:r>
          </a:p>
          <a:p>
            <a:pPr marL="457200" indent="-457200">
              <a:buFont typeface="Arial" panose="020B0604020202020204" pitchFamily="34" charset="0"/>
              <a:buChar char="•"/>
            </a:pPr>
            <a:r>
              <a:rPr lang="es-MX" dirty="0"/>
              <a:t>Los procesos pueden compartir una sola imagen en memoria de una biblioteca o programa.</a:t>
            </a:r>
          </a:p>
          <a:p>
            <a:pPr marL="457200" indent="-457200">
              <a:buFont typeface="Arial" panose="020B0604020202020204" pitchFamily="34" charset="0"/>
              <a:buChar char="•"/>
            </a:pPr>
            <a:r>
              <a:rPr lang="es-MX" dirty="0"/>
              <a:t>Incrementa la seguridad al aislar la memoria de un proceso con respecto a otro.</a:t>
            </a:r>
          </a:p>
          <a:p>
            <a:pPr marL="457200" indent="-457200">
              <a:buFont typeface="Arial" panose="020B0604020202020204" pitchFamily="34" charset="0"/>
              <a:buChar char="•"/>
            </a:pPr>
            <a:r>
              <a:rPr lang="es-MX" dirty="0"/>
              <a:t>Los procesos creados a partir de otros usando </a:t>
            </a:r>
            <a:r>
              <a:rPr lang="es-MX" i="1" dirty="0" err="1"/>
              <a:t>fork</a:t>
            </a:r>
            <a:r>
              <a:rPr lang="es-MX" i="1" dirty="0"/>
              <a:t> </a:t>
            </a:r>
            <a:r>
              <a:rPr lang="es-MX" dirty="0"/>
              <a:t>pueden</a:t>
            </a:r>
            <a:r>
              <a:rPr lang="es-MX" i="1" dirty="0"/>
              <a:t> </a:t>
            </a:r>
            <a:r>
              <a:rPr lang="es-MX" dirty="0"/>
              <a:t>compartir paginas.</a:t>
            </a:r>
          </a:p>
          <a:p>
            <a:pPr marL="457200" indent="-457200">
              <a:buFont typeface="Arial" panose="020B0604020202020204" pitchFamily="34" charset="0"/>
              <a:buChar char="•"/>
            </a:pPr>
            <a:r>
              <a:rPr lang="es-MX" dirty="0"/>
              <a:t>Permite la escritura de código independiente de maquina, pues evita que se tenga que pensar en la organización física de la memoria al momento de programar.</a:t>
            </a:r>
          </a:p>
          <a:p>
            <a:pPr marL="457200" indent="-457200">
              <a:buFont typeface="Arial" panose="020B0604020202020204" pitchFamily="34" charset="0"/>
              <a:buChar char="•"/>
            </a:pPr>
            <a:endParaRPr lang="es-MX" dirty="0"/>
          </a:p>
        </p:txBody>
      </p:sp>
      <p:sp>
        <p:nvSpPr>
          <p:cNvPr id="3" name="Title 2">
            <a:extLst>
              <a:ext uri="{FF2B5EF4-FFF2-40B4-BE49-F238E27FC236}">
                <a16:creationId xmlns:a16="http://schemas.microsoft.com/office/drawing/2014/main" id="{12B1AD34-B02D-442C-AB22-9D11E2DD4E9B}"/>
              </a:ext>
            </a:extLst>
          </p:cNvPr>
          <p:cNvSpPr>
            <a:spLocks noGrp="1"/>
          </p:cNvSpPr>
          <p:nvPr>
            <p:ph type="title"/>
          </p:nvPr>
        </p:nvSpPr>
        <p:spPr/>
        <p:txBody>
          <a:bodyPr/>
          <a:lstStyle/>
          <a:p>
            <a:r>
              <a:rPr lang="es-MX" dirty="0"/>
              <a:t>Algunas Ventajas de la memoria Virtual</a:t>
            </a:r>
          </a:p>
        </p:txBody>
      </p:sp>
      <p:sp>
        <p:nvSpPr>
          <p:cNvPr id="4" name="Date Placeholder 3">
            <a:extLst>
              <a:ext uri="{FF2B5EF4-FFF2-40B4-BE49-F238E27FC236}">
                <a16:creationId xmlns:a16="http://schemas.microsoft.com/office/drawing/2014/main" id="{BF069E56-BDCE-4F60-A05F-045E7E9F61B2}"/>
              </a:ext>
            </a:extLst>
          </p:cNvPr>
          <p:cNvSpPr>
            <a:spLocks noGrp="1"/>
          </p:cNvSpPr>
          <p:nvPr>
            <p:ph type="dt" sz="half" idx="14"/>
          </p:nvPr>
        </p:nvSpPr>
        <p:spPr/>
        <p:txBody>
          <a:bodyPr/>
          <a:lstStyle/>
          <a:p>
            <a:fld id="{D130BD2F-1847-40FB-9D07-D2F2A07011D2}" type="datetime1">
              <a:rPr lang="es-MX" smtClean="0"/>
              <a:pPr/>
              <a:t>25/08/2022</a:t>
            </a:fld>
            <a:endParaRPr lang="es-MX" dirty="0"/>
          </a:p>
        </p:txBody>
      </p:sp>
      <p:sp>
        <p:nvSpPr>
          <p:cNvPr id="5" name="Footer Placeholder 4">
            <a:extLst>
              <a:ext uri="{FF2B5EF4-FFF2-40B4-BE49-F238E27FC236}">
                <a16:creationId xmlns:a16="http://schemas.microsoft.com/office/drawing/2014/main" id="{75E8E425-A4F7-46D1-B590-642A4C53CEDE}"/>
              </a:ext>
            </a:extLst>
          </p:cNvPr>
          <p:cNvSpPr>
            <a:spLocks noGrp="1"/>
          </p:cNvSpPr>
          <p:nvPr>
            <p:ph type="ftr" sz="quarter" idx="15"/>
          </p:nvPr>
        </p:nvSpPr>
        <p:spPr/>
        <p:txBody>
          <a:bodyPr/>
          <a:lstStyle/>
          <a:p>
            <a:pPr algn="ctr"/>
            <a:r>
              <a:rPr lang="es-MX" dirty="0" err="1"/>
              <a:t>Author</a:t>
            </a:r>
            <a:r>
              <a:rPr lang="es-MX" dirty="0"/>
              <a:t> © Continental AG</a:t>
            </a:r>
          </a:p>
        </p:txBody>
      </p:sp>
      <p:sp>
        <p:nvSpPr>
          <p:cNvPr id="6" name="Slide Number Placeholder 5">
            <a:extLst>
              <a:ext uri="{FF2B5EF4-FFF2-40B4-BE49-F238E27FC236}">
                <a16:creationId xmlns:a16="http://schemas.microsoft.com/office/drawing/2014/main" id="{56099984-BC8C-409C-9B9D-6B8134353E36}"/>
              </a:ext>
            </a:extLst>
          </p:cNvPr>
          <p:cNvSpPr>
            <a:spLocks noGrp="1"/>
          </p:cNvSpPr>
          <p:nvPr>
            <p:ph type="sldNum" sz="quarter" idx="16"/>
          </p:nvPr>
        </p:nvSpPr>
        <p:spPr/>
        <p:txBody>
          <a:bodyPr/>
          <a:lstStyle/>
          <a:p>
            <a:fld id="{ADA48181-2C78-49CB-8C52-912A07842C2E}" type="slidenum">
              <a:rPr lang="es-MX" smtClean="0"/>
              <a:pPr/>
              <a:t>3</a:t>
            </a:fld>
            <a:endParaRPr lang="es-MX" dirty="0"/>
          </a:p>
        </p:txBody>
      </p:sp>
    </p:spTree>
    <p:extLst>
      <p:ext uri="{BB962C8B-B14F-4D97-AF65-F5344CB8AC3E}">
        <p14:creationId xmlns:p14="http://schemas.microsoft.com/office/powerpoint/2010/main" val="16791842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4DE61F-17A7-4A31-952C-FBB37C341C2E}"/>
              </a:ext>
            </a:extLst>
          </p:cNvPr>
          <p:cNvSpPr>
            <a:spLocks noGrp="1"/>
          </p:cNvSpPr>
          <p:nvPr>
            <p:ph type="title"/>
          </p:nvPr>
        </p:nvSpPr>
        <p:spPr/>
        <p:txBody>
          <a:bodyPr/>
          <a:lstStyle/>
          <a:p>
            <a:r>
              <a:rPr lang="es-MX" dirty="0" err="1"/>
              <a:t>MMU’s</a:t>
            </a:r>
            <a:r>
              <a:rPr lang="es-MX" dirty="0"/>
              <a:t> y Paginación</a:t>
            </a:r>
          </a:p>
        </p:txBody>
      </p:sp>
      <p:sp>
        <p:nvSpPr>
          <p:cNvPr id="4" name="Date Placeholder 3">
            <a:extLst>
              <a:ext uri="{FF2B5EF4-FFF2-40B4-BE49-F238E27FC236}">
                <a16:creationId xmlns:a16="http://schemas.microsoft.com/office/drawing/2014/main" id="{98BFA253-24E9-476E-AF9B-0530AFE84A25}"/>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7CE7936D-67CC-4A7F-9E1E-736F836239AB}"/>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C1D1BDE9-9CFE-4F83-BABD-83984573CE2D}"/>
              </a:ext>
            </a:extLst>
          </p:cNvPr>
          <p:cNvSpPr>
            <a:spLocks noGrp="1"/>
          </p:cNvSpPr>
          <p:nvPr>
            <p:ph type="sldNum" sz="quarter" idx="16"/>
          </p:nvPr>
        </p:nvSpPr>
        <p:spPr/>
        <p:txBody>
          <a:bodyPr/>
          <a:lstStyle/>
          <a:p>
            <a:fld id="{ADA48181-2C78-49CB-8C52-912A07842C2E}" type="slidenum">
              <a:rPr lang="en-US" smtClean="0"/>
              <a:pPr/>
              <a:t>4</a:t>
            </a:fld>
            <a:endParaRPr lang="en-US" dirty="0"/>
          </a:p>
        </p:txBody>
      </p:sp>
      <p:sp>
        <p:nvSpPr>
          <p:cNvPr id="11" name="TextBox 10">
            <a:extLst>
              <a:ext uri="{FF2B5EF4-FFF2-40B4-BE49-F238E27FC236}">
                <a16:creationId xmlns:a16="http://schemas.microsoft.com/office/drawing/2014/main" id="{C0740E15-51E0-49FD-9A76-70D3F74F64BD}"/>
              </a:ext>
            </a:extLst>
          </p:cNvPr>
          <p:cNvSpPr txBox="1"/>
          <p:nvPr/>
        </p:nvSpPr>
        <p:spPr>
          <a:xfrm>
            <a:off x="659292" y="2055763"/>
            <a:ext cx="4681736" cy="3170099"/>
          </a:xfrm>
          <a:prstGeom prst="rect">
            <a:avLst/>
          </a:prstGeom>
          <a:noFill/>
        </p:spPr>
        <p:txBody>
          <a:bodyPr wrap="square" rtlCol="0">
            <a:spAutoFit/>
          </a:bodyPr>
          <a:lstStyle/>
          <a:p>
            <a:pPr marL="285750" indent="-285750">
              <a:buFont typeface="Arial" panose="020B0604020202020204" pitchFamily="34" charset="0"/>
              <a:buChar char="•"/>
            </a:pPr>
            <a:r>
              <a:rPr lang="es-MX" sz="2000" dirty="0"/>
              <a:t>La MMU lleva a cabo el mapeo entre la memora física y virtual. </a:t>
            </a:r>
          </a:p>
          <a:p>
            <a:pPr marL="285750" indent="-285750">
              <a:buFont typeface="Arial" panose="020B0604020202020204" pitchFamily="34" charset="0"/>
              <a:buChar char="•"/>
            </a:pPr>
            <a:r>
              <a:rPr lang="es-MX" sz="2000" dirty="0"/>
              <a:t>La memoria de divide lógicamente en páginas. 4KB </a:t>
            </a:r>
          </a:p>
          <a:p>
            <a:pPr marL="285750" indent="-285750">
              <a:buFont typeface="Arial" panose="020B0604020202020204" pitchFamily="34" charset="0"/>
              <a:buChar char="•"/>
            </a:pPr>
            <a:r>
              <a:rPr lang="es-MX" sz="2000" dirty="0"/>
              <a:t>La tabla de páginas lleva la relación entre las paginas físicas y las virtuales.</a:t>
            </a:r>
          </a:p>
          <a:p>
            <a:pPr marL="285750" indent="-285750">
              <a:buFont typeface="Arial" panose="020B0604020202020204" pitchFamily="34" charset="0"/>
              <a:buChar char="•"/>
            </a:pPr>
            <a:r>
              <a:rPr lang="es-MX" sz="2000" dirty="0"/>
              <a:t>Cuando se solicita una operación en una dirección de memoria. El SO utiliza la MMU para obtener la dirección (física) de la página solicitada. </a:t>
            </a:r>
          </a:p>
        </p:txBody>
      </p:sp>
      <p:pic>
        <p:nvPicPr>
          <p:cNvPr id="14" name="Content Placeholder 13" descr="Diagram&#10;&#10;Description automatically generated">
            <a:extLst>
              <a:ext uri="{FF2B5EF4-FFF2-40B4-BE49-F238E27FC236}">
                <a16:creationId xmlns:a16="http://schemas.microsoft.com/office/drawing/2014/main" id="{A1BA03D4-F16F-443B-8083-F4EEFE491711}"/>
              </a:ext>
            </a:extLst>
          </p:cNvPr>
          <p:cNvPicPr>
            <a:picLocks noGrp="1" noChangeAspect="1"/>
          </p:cNvPicPr>
          <p:nvPr>
            <p:ph sz="quarter" idx="13"/>
          </p:nvPr>
        </p:nvPicPr>
        <p:blipFill>
          <a:blip r:embed="rId3"/>
          <a:stretch>
            <a:fillRect/>
          </a:stretch>
        </p:blipFill>
        <p:spPr>
          <a:xfrm>
            <a:off x="5591944" y="1340768"/>
            <a:ext cx="6012668" cy="4933952"/>
          </a:xfrm>
        </p:spPr>
      </p:pic>
    </p:spTree>
    <p:extLst>
      <p:ext uri="{BB962C8B-B14F-4D97-AF65-F5344CB8AC3E}">
        <p14:creationId xmlns:p14="http://schemas.microsoft.com/office/powerpoint/2010/main" val="36787249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1F8B867-E5E3-4F79-9282-073AF4223E71}"/>
              </a:ext>
            </a:extLst>
          </p:cNvPr>
          <p:cNvSpPr>
            <a:spLocks noGrp="1"/>
          </p:cNvSpPr>
          <p:nvPr>
            <p:ph sz="quarter" idx="13"/>
          </p:nvPr>
        </p:nvSpPr>
        <p:spPr>
          <a:xfrm>
            <a:off x="838200" y="1556792"/>
            <a:ext cx="10515600" cy="4351338"/>
          </a:xfrm>
        </p:spPr>
        <p:txBody>
          <a:bodyPr>
            <a:normAutofit fontScale="92500"/>
          </a:bodyPr>
          <a:lstStyle/>
          <a:p>
            <a:r>
              <a:rPr lang="es-MX" dirty="0"/>
              <a:t>Es una excepción que ocurre cuando se solicita memoria que no está disponible en memoria física o no está asignada al proceso que la solicito.</a:t>
            </a:r>
          </a:p>
          <a:p>
            <a:r>
              <a:rPr lang="es-MX" dirty="0"/>
              <a:t>El SO tiene mecanismos para manejar los fallos de página:</a:t>
            </a:r>
          </a:p>
          <a:p>
            <a:pPr lvl="1"/>
            <a:r>
              <a:rPr lang="es-MX" sz="2800" dirty="0"/>
              <a:t>El sistema puede tomar la pagina solicitada del disco y copiarla de vuelta en memoria.</a:t>
            </a:r>
          </a:p>
          <a:p>
            <a:pPr lvl="1"/>
            <a:r>
              <a:rPr lang="es-MX" sz="2800" dirty="0"/>
              <a:t>Si la operación es de lectura y la página ya se encuentra en memoria asignada otro proceso. Se actualiza la tabla de páginas de la MMU.</a:t>
            </a:r>
          </a:p>
          <a:p>
            <a:pPr lvl="1"/>
            <a:r>
              <a:rPr lang="es-MX" sz="2800" dirty="0"/>
              <a:t>Si la operación es de escritura y la página ya se encuentra en memoria asignada otro proceso. La pagina original se copia y la nueva se asigna al proceso solicitante.</a:t>
            </a:r>
          </a:p>
          <a:p>
            <a:endParaRPr lang="es-MX" dirty="0"/>
          </a:p>
          <a:p>
            <a:pPr marL="457200" indent="-457200">
              <a:buFont typeface="Arial" panose="020B0604020202020204" pitchFamily="34" charset="0"/>
              <a:buChar char="•"/>
            </a:pPr>
            <a:endParaRPr lang="es-MX" dirty="0"/>
          </a:p>
        </p:txBody>
      </p:sp>
      <p:sp>
        <p:nvSpPr>
          <p:cNvPr id="3" name="Title 2">
            <a:extLst>
              <a:ext uri="{FF2B5EF4-FFF2-40B4-BE49-F238E27FC236}">
                <a16:creationId xmlns:a16="http://schemas.microsoft.com/office/drawing/2014/main" id="{9DD82EE3-C90E-4976-8B0F-D006760A2BF1}"/>
              </a:ext>
            </a:extLst>
          </p:cNvPr>
          <p:cNvSpPr>
            <a:spLocks noGrp="1"/>
          </p:cNvSpPr>
          <p:nvPr>
            <p:ph type="title"/>
          </p:nvPr>
        </p:nvSpPr>
        <p:spPr/>
        <p:txBody>
          <a:bodyPr/>
          <a:lstStyle/>
          <a:p>
            <a:r>
              <a:rPr lang="es-MX" dirty="0"/>
              <a:t>Fallo de página</a:t>
            </a:r>
          </a:p>
        </p:txBody>
      </p:sp>
      <p:sp>
        <p:nvSpPr>
          <p:cNvPr id="4" name="Date Placeholder 3">
            <a:extLst>
              <a:ext uri="{FF2B5EF4-FFF2-40B4-BE49-F238E27FC236}">
                <a16:creationId xmlns:a16="http://schemas.microsoft.com/office/drawing/2014/main" id="{A6CC621D-9D40-4F7B-9877-DA8EA6CD7930}"/>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9D36F75D-60C1-40DE-91F7-4EC5E6B966A7}"/>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97A41B4-8A93-45CC-A808-864C1280CE61}"/>
              </a:ext>
            </a:extLst>
          </p:cNvPr>
          <p:cNvSpPr>
            <a:spLocks noGrp="1"/>
          </p:cNvSpPr>
          <p:nvPr>
            <p:ph type="sldNum" sz="quarter" idx="16"/>
          </p:nvPr>
        </p:nvSpPr>
        <p:spPr/>
        <p:txBody>
          <a:bodyPr/>
          <a:lstStyle/>
          <a:p>
            <a:fld id="{ADA48181-2C78-49CB-8C52-912A07842C2E}" type="slidenum">
              <a:rPr lang="en-US" smtClean="0"/>
              <a:pPr/>
              <a:t>5</a:t>
            </a:fld>
            <a:endParaRPr lang="en-US" dirty="0"/>
          </a:p>
        </p:txBody>
      </p:sp>
    </p:spTree>
    <p:extLst>
      <p:ext uri="{BB962C8B-B14F-4D97-AF65-F5344CB8AC3E}">
        <p14:creationId xmlns:p14="http://schemas.microsoft.com/office/powerpoint/2010/main" val="2607527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AB9418D-369F-477D-9706-A338BF43F7EC}"/>
              </a:ext>
            </a:extLst>
          </p:cNvPr>
          <p:cNvSpPr>
            <a:spLocks noGrp="1"/>
          </p:cNvSpPr>
          <p:nvPr>
            <p:ph sz="quarter" idx="13"/>
          </p:nvPr>
        </p:nvSpPr>
        <p:spPr/>
        <p:txBody>
          <a:bodyPr>
            <a:normAutofit/>
          </a:bodyPr>
          <a:lstStyle/>
          <a:p>
            <a:r>
              <a:rPr lang="es-MX" dirty="0"/>
              <a:t>La virtual memoria del sistema se divide en dos. Espacio de usuario y espacio del </a:t>
            </a:r>
            <a:r>
              <a:rPr lang="es-MX" dirty="0" err="1"/>
              <a:t>kernel</a:t>
            </a:r>
            <a:endParaRPr lang="es-MX" dirty="0"/>
          </a:p>
          <a:p>
            <a:endParaRPr lang="es-MX" dirty="0"/>
          </a:p>
        </p:txBody>
      </p:sp>
      <p:sp>
        <p:nvSpPr>
          <p:cNvPr id="3" name="Title 2">
            <a:extLst>
              <a:ext uri="{FF2B5EF4-FFF2-40B4-BE49-F238E27FC236}">
                <a16:creationId xmlns:a16="http://schemas.microsoft.com/office/drawing/2014/main" id="{49FCEBFC-B938-4671-B4B9-587278703410}"/>
              </a:ext>
            </a:extLst>
          </p:cNvPr>
          <p:cNvSpPr>
            <a:spLocks noGrp="1"/>
          </p:cNvSpPr>
          <p:nvPr>
            <p:ph type="title"/>
          </p:nvPr>
        </p:nvSpPr>
        <p:spPr/>
        <p:txBody>
          <a:bodyPr/>
          <a:lstStyle/>
          <a:p>
            <a:r>
              <a:rPr lang="es-MX" dirty="0"/>
              <a:t>Espacios de memoria del </a:t>
            </a:r>
            <a:r>
              <a:rPr lang="es-MX" dirty="0" err="1"/>
              <a:t>kernel</a:t>
            </a:r>
            <a:r>
              <a:rPr lang="es-MX" dirty="0"/>
              <a:t> y de usuario</a:t>
            </a:r>
          </a:p>
        </p:txBody>
      </p:sp>
      <p:sp>
        <p:nvSpPr>
          <p:cNvPr id="4" name="Date Placeholder 3">
            <a:extLst>
              <a:ext uri="{FF2B5EF4-FFF2-40B4-BE49-F238E27FC236}">
                <a16:creationId xmlns:a16="http://schemas.microsoft.com/office/drawing/2014/main" id="{F8A1A23D-6017-4AC2-AD54-C158972366C4}"/>
              </a:ext>
            </a:extLst>
          </p:cNvPr>
          <p:cNvSpPr>
            <a:spLocks noGrp="1"/>
          </p:cNvSpPr>
          <p:nvPr>
            <p:ph type="dt" sz="half" idx="14"/>
          </p:nvPr>
        </p:nvSpPr>
        <p:spPr>
          <a:xfrm>
            <a:off x="1281766" y="6346898"/>
            <a:ext cx="2743200" cy="365125"/>
          </a:xfrm>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E97BD0D-EB52-4CC7-98B2-ED0E20F8336C}"/>
              </a:ext>
            </a:extLst>
          </p:cNvPr>
          <p:cNvSpPr>
            <a:spLocks noGrp="1"/>
          </p:cNvSpPr>
          <p:nvPr>
            <p:ph type="ftr" sz="quarter" idx="15"/>
          </p:nvPr>
        </p:nvSpPr>
        <p:spPr/>
        <p:txBody>
          <a:bodyPr/>
          <a:lstStyle/>
          <a:p>
            <a:pPr algn="ctr"/>
            <a:r>
              <a:rPr lang="en-US" dirty="0"/>
              <a:t>Author © Continental AG</a:t>
            </a:r>
          </a:p>
        </p:txBody>
      </p:sp>
      <p:sp>
        <p:nvSpPr>
          <p:cNvPr id="6" name="Slide Number Placeholder 5">
            <a:extLst>
              <a:ext uri="{FF2B5EF4-FFF2-40B4-BE49-F238E27FC236}">
                <a16:creationId xmlns:a16="http://schemas.microsoft.com/office/drawing/2014/main" id="{77F329F3-54B4-48FC-9446-4BE905BC98D9}"/>
              </a:ext>
            </a:extLst>
          </p:cNvPr>
          <p:cNvSpPr>
            <a:spLocks noGrp="1"/>
          </p:cNvSpPr>
          <p:nvPr>
            <p:ph type="sldNum" sz="quarter" idx="16"/>
          </p:nvPr>
        </p:nvSpPr>
        <p:spPr/>
        <p:txBody>
          <a:bodyPr/>
          <a:lstStyle/>
          <a:p>
            <a:fld id="{ADA48181-2C78-49CB-8C52-912A07842C2E}" type="slidenum">
              <a:rPr lang="en-US" smtClean="0"/>
              <a:pPr/>
              <a:t>6</a:t>
            </a:fld>
            <a:endParaRPr lang="en-US" dirty="0"/>
          </a:p>
        </p:txBody>
      </p:sp>
      <p:pic>
        <p:nvPicPr>
          <p:cNvPr id="2050" name="Picture 2" descr="x86-64 memory layout">
            <a:extLst>
              <a:ext uri="{FF2B5EF4-FFF2-40B4-BE49-F238E27FC236}">
                <a16:creationId xmlns:a16="http://schemas.microsoft.com/office/drawing/2014/main" id="{A6D03176-DF84-4EAE-9F52-2124296951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992" t="12901" b="3864"/>
          <a:stretch/>
        </p:blipFill>
        <p:spPr bwMode="auto">
          <a:xfrm>
            <a:off x="4835860" y="2268817"/>
            <a:ext cx="6046485" cy="3997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67283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47675D-B386-44E7-BC3B-A8259FA18B02}"/>
              </a:ext>
            </a:extLst>
          </p:cNvPr>
          <p:cNvSpPr>
            <a:spLocks noGrp="1"/>
          </p:cNvSpPr>
          <p:nvPr>
            <p:ph sz="quarter" idx="13"/>
          </p:nvPr>
        </p:nvSpPr>
        <p:spPr/>
        <p:txBody>
          <a:bodyPr/>
          <a:lstStyle/>
          <a:p>
            <a:r>
              <a:rPr lang="es-MX" dirty="0"/>
              <a:t>En él, el código y todas las estructuras de datos del </a:t>
            </a:r>
            <a:r>
              <a:rPr lang="es-MX" dirty="0" err="1"/>
              <a:t>kernel</a:t>
            </a:r>
            <a:r>
              <a:rPr lang="es-MX" dirty="0"/>
              <a:t> se encuentran. </a:t>
            </a:r>
          </a:p>
          <a:p>
            <a:pPr lvl="1"/>
            <a:r>
              <a:rPr lang="es-MX" dirty="0"/>
              <a:t>Solo puede ser accedido por los procesos de usuario a través de las llamadas al sistema. </a:t>
            </a:r>
          </a:p>
          <a:p>
            <a:pPr lvl="1"/>
            <a:r>
              <a:rPr lang="es-MX" dirty="0"/>
              <a:t>Se asume que todas las funciones del </a:t>
            </a:r>
            <a:r>
              <a:rPr lang="es-MX" dirty="0" err="1"/>
              <a:t>kernel</a:t>
            </a:r>
            <a:r>
              <a:rPr lang="es-MX" dirty="0"/>
              <a:t> están libres de error por lo que los errores ocurridos en este espacio son irrecuperables.</a:t>
            </a:r>
          </a:p>
          <a:p>
            <a:pPr lvl="1"/>
            <a:r>
              <a:rPr lang="es-MX" dirty="0"/>
              <a:t>Todas la operaciones llevadas a cabo dentro del espacio del </a:t>
            </a:r>
            <a:r>
              <a:rPr lang="es-MX" dirty="0" err="1"/>
              <a:t>kernel</a:t>
            </a:r>
            <a:r>
              <a:rPr lang="es-MX" dirty="0"/>
              <a:t> son consideradas de alta prioridad. Por lo que solicitudes de recursos como memoria son atendidas al momento.</a:t>
            </a:r>
          </a:p>
          <a:p>
            <a:endParaRPr lang="es-MX" dirty="0"/>
          </a:p>
        </p:txBody>
      </p:sp>
      <p:sp>
        <p:nvSpPr>
          <p:cNvPr id="3" name="Title 2">
            <a:extLst>
              <a:ext uri="{FF2B5EF4-FFF2-40B4-BE49-F238E27FC236}">
                <a16:creationId xmlns:a16="http://schemas.microsoft.com/office/drawing/2014/main" id="{84EF68C6-E4DA-46BE-89F7-45E98CED306B}"/>
              </a:ext>
            </a:extLst>
          </p:cNvPr>
          <p:cNvSpPr>
            <a:spLocks noGrp="1"/>
          </p:cNvSpPr>
          <p:nvPr>
            <p:ph type="title"/>
          </p:nvPr>
        </p:nvSpPr>
        <p:spPr/>
        <p:txBody>
          <a:bodyPr/>
          <a:lstStyle/>
          <a:p>
            <a:r>
              <a:rPr lang="es-MX" dirty="0"/>
              <a:t>Espacio del </a:t>
            </a:r>
            <a:r>
              <a:rPr lang="es-MX" dirty="0" err="1"/>
              <a:t>kernel</a:t>
            </a:r>
            <a:endParaRPr lang="es-MX" dirty="0"/>
          </a:p>
        </p:txBody>
      </p:sp>
      <p:sp>
        <p:nvSpPr>
          <p:cNvPr id="4" name="Date Placeholder 3">
            <a:extLst>
              <a:ext uri="{FF2B5EF4-FFF2-40B4-BE49-F238E27FC236}">
                <a16:creationId xmlns:a16="http://schemas.microsoft.com/office/drawing/2014/main" id="{4C4C7C17-9A17-43B8-B14A-75DFB82D1EFE}"/>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332A3191-CB3B-4247-867D-227688606062}"/>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68B2D89-9CA9-4C1E-96D6-EBF213FD3B25}"/>
              </a:ext>
            </a:extLst>
          </p:cNvPr>
          <p:cNvSpPr>
            <a:spLocks noGrp="1"/>
          </p:cNvSpPr>
          <p:nvPr>
            <p:ph type="sldNum" sz="quarter" idx="16"/>
          </p:nvPr>
        </p:nvSpPr>
        <p:spPr/>
        <p:txBody>
          <a:bodyPr/>
          <a:lstStyle/>
          <a:p>
            <a:fld id="{ADA48181-2C78-49CB-8C52-912A07842C2E}" type="slidenum">
              <a:rPr lang="en-US" smtClean="0"/>
              <a:pPr/>
              <a:t>7</a:t>
            </a:fld>
            <a:endParaRPr lang="en-US" dirty="0"/>
          </a:p>
        </p:txBody>
      </p:sp>
    </p:spTree>
    <p:extLst>
      <p:ext uri="{BB962C8B-B14F-4D97-AF65-F5344CB8AC3E}">
        <p14:creationId xmlns:p14="http://schemas.microsoft.com/office/powerpoint/2010/main" val="39871305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A74AE4-9551-4375-BA4C-1086BACDFDC0}"/>
              </a:ext>
            </a:extLst>
          </p:cNvPr>
          <p:cNvSpPr>
            <a:spLocks noGrp="1"/>
          </p:cNvSpPr>
          <p:nvPr>
            <p:ph sz="quarter" idx="13"/>
          </p:nvPr>
        </p:nvSpPr>
        <p:spPr/>
        <p:txBody>
          <a:bodyPr/>
          <a:lstStyle/>
          <a:p>
            <a:pPr lvl="0"/>
            <a:r>
              <a:rPr lang="es-MX" dirty="0"/>
              <a:t>El espacio de usuario es donde todos los procesos de los usuarios son ejecutados.</a:t>
            </a:r>
          </a:p>
          <a:p>
            <a:pPr lvl="1"/>
            <a:r>
              <a:rPr lang="es-MX" dirty="0"/>
              <a:t>Estos procesos son administrados por el </a:t>
            </a:r>
            <a:r>
              <a:rPr lang="es-MX" dirty="0" err="1"/>
              <a:t>kernel</a:t>
            </a:r>
            <a:r>
              <a:rPr lang="es-MX" dirty="0"/>
              <a:t>, quien los considera no confiables por lo que se encuentra preparado para atrapar y despachar todos los posibles errores.</a:t>
            </a:r>
          </a:p>
          <a:p>
            <a:pPr lvl="1"/>
            <a:r>
              <a:rPr lang="es-MX" dirty="0"/>
              <a:t>Al considerase de baja prioridad las operaciones en espacio de usuario, el </a:t>
            </a:r>
            <a:r>
              <a:rPr lang="es-MX" dirty="0" err="1"/>
              <a:t>kernel</a:t>
            </a:r>
            <a:r>
              <a:rPr lang="es-MX" dirty="0"/>
              <a:t> busca diferirlas todo lo posible. </a:t>
            </a:r>
          </a:p>
        </p:txBody>
      </p:sp>
      <p:sp>
        <p:nvSpPr>
          <p:cNvPr id="3" name="Title 2">
            <a:extLst>
              <a:ext uri="{FF2B5EF4-FFF2-40B4-BE49-F238E27FC236}">
                <a16:creationId xmlns:a16="http://schemas.microsoft.com/office/drawing/2014/main" id="{4F7D9A57-4864-4B7C-AA23-DB0A090AB7E0}"/>
              </a:ext>
            </a:extLst>
          </p:cNvPr>
          <p:cNvSpPr>
            <a:spLocks noGrp="1"/>
          </p:cNvSpPr>
          <p:nvPr>
            <p:ph type="title"/>
          </p:nvPr>
        </p:nvSpPr>
        <p:spPr/>
        <p:txBody>
          <a:bodyPr/>
          <a:lstStyle/>
          <a:p>
            <a:r>
              <a:rPr lang="es-MX" dirty="0"/>
              <a:t>Espacio de usuario</a:t>
            </a:r>
          </a:p>
        </p:txBody>
      </p:sp>
      <p:sp>
        <p:nvSpPr>
          <p:cNvPr id="4" name="Date Placeholder 3">
            <a:extLst>
              <a:ext uri="{FF2B5EF4-FFF2-40B4-BE49-F238E27FC236}">
                <a16:creationId xmlns:a16="http://schemas.microsoft.com/office/drawing/2014/main" id="{8155564A-D288-422A-A804-FB1348E14732}"/>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D403EC-E0F4-4350-9DFD-D150AAB35151}"/>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730B8AE2-1333-4602-B975-81189C18B08A}"/>
              </a:ext>
            </a:extLst>
          </p:cNvPr>
          <p:cNvSpPr>
            <a:spLocks noGrp="1"/>
          </p:cNvSpPr>
          <p:nvPr>
            <p:ph type="sldNum" sz="quarter" idx="16"/>
          </p:nvPr>
        </p:nvSpPr>
        <p:spPr/>
        <p:txBody>
          <a:bodyPr/>
          <a:lstStyle/>
          <a:p>
            <a:fld id="{ADA48181-2C78-49CB-8C52-912A07842C2E}" type="slidenum">
              <a:rPr lang="en-US" smtClean="0"/>
              <a:pPr/>
              <a:t>8</a:t>
            </a:fld>
            <a:endParaRPr lang="en-US" dirty="0"/>
          </a:p>
        </p:txBody>
      </p:sp>
    </p:spTree>
    <p:extLst>
      <p:ext uri="{BB962C8B-B14F-4D97-AF65-F5344CB8AC3E}">
        <p14:creationId xmlns:p14="http://schemas.microsoft.com/office/powerpoint/2010/main" val="38441185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69EFC1-9471-431C-B589-20D6262E1192}"/>
              </a:ext>
            </a:extLst>
          </p:cNvPr>
          <p:cNvSpPr>
            <a:spLocks noGrp="1"/>
          </p:cNvSpPr>
          <p:nvPr>
            <p:ph type="title"/>
          </p:nvPr>
        </p:nvSpPr>
        <p:spPr>
          <a:xfrm>
            <a:off x="838200" y="365125"/>
            <a:ext cx="7772400" cy="1325563"/>
          </a:xfrm>
        </p:spPr>
        <p:txBody>
          <a:bodyPr/>
          <a:lstStyle/>
          <a:p>
            <a:r>
              <a:rPr lang="es-MX" dirty="0"/>
              <a:t>Espacio de direcciones virtuales de un proceso</a:t>
            </a:r>
          </a:p>
        </p:txBody>
      </p:sp>
      <p:sp>
        <p:nvSpPr>
          <p:cNvPr id="4" name="Date Placeholder 3">
            <a:extLst>
              <a:ext uri="{FF2B5EF4-FFF2-40B4-BE49-F238E27FC236}">
                <a16:creationId xmlns:a16="http://schemas.microsoft.com/office/drawing/2014/main" id="{2876BBFC-BE3F-4AEE-AD93-30D6D3B8C6F9}"/>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EED9589F-FE60-4CE0-92A0-A87821CB9906}"/>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6CA3EA15-4CD9-4920-9EB4-DF177018FD1B}"/>
              </a:ext>
            </a:extLst>
          </p:cNvPr>
          <p:cNvSpPr>
            <a:spLocks noGrp="1"/>
          </p:cNvSpPr>
          <p:nvPr>
            <p:ph type="sldNum" sz="quarter" idx="16"/>
          </p:nvPr>
        </p:nvSpPr>
        <p:spPr/>
        <p:txBody>
          <a:bodyPr/>
          <a:lstStyle/>
          <a:p>
            <a:fld id="{ADA48181-2C78-49CB-8C52-912A07842C2E}" type="slidenum">
              <a:rPr lang="en-US" smtClean="0"/>
              <a:pPr/>
              <a:t>9</a:t>
            </a:fld>
            <a:endParaRPr lang="en-US" dirty="0"/>
          </a:p>
        </p:txBody>
      </p:sp>
      <p:pic>
        <p:nvPicPr>
          <p:cNvPr id="9" name="Content Placeholder 8" descr="Chart&#10;&#10;Description automatically generated with medium confidence">
            <a:extLst>
              <a:ext uri="{FF2B5EF4-FFF2-40B4-BE49-F238E27FC236}">
                <a16:creationId xmlns:a16="http://schemas.microsoft.com/office/drawing/2014/main" id="{2EF4089F-D61F-4619-ADE1-260B45FF2A26}"/>
              </a:ext>
            </a:extLst>
          </p:cNvPr>
          <p:cNvPicPr>
            <a:picLocks noGrp="1" noChangeAspect="1"/>
          </p:cNvPicPr>
          <p:nvPr>
            <p:ph sz="quarter" idx="13"/>
          </p:nvPr>
        </p:nvPicPr>
        <p:blipFill>
          <a:blip r:embed="rId3"/>
          <a:stretch>
            <a:fillRect/>
          </a:stretch>
        </p:blipFill>
        <p:spPr>
          <a:xfrm>
            <a:off x="8969725" y="138993"/>
            <a:ext cx="2626402" cy="6057292"/>
          </a:xfrm>
        </p:spPr>
      </p:pic>
      <p:sp>
        <p:nvSpPr>
          <p:cNvPr id="10" name="Text Placeholder 9">
            <a:extLst>
              <a:ext uri="{FF2B5EF4-FFF2-40B4-BE49-F238E27FC236}">
                <a16:creationId xmlns:a16="http://schemas.microsoft.com/office/drawing/2014/main" id="{17E6C26E-C469-4183-9FA9-1A6285EDFCC7}"/>
              </a:ext>
            </a:extLst>
          </p:cNvPr>
          <p:cNvSpPr>
            <a:spLocks noGrp="1"/>
          </p:cNvSpPr>
          <p:nvPr>
            <p:ph type="body" idx="4294967295"/>
          </p:nvPr>
        </p:nvSpPr>
        <p:spPr>
          <a:xfrm>
            <a:off x="838200" y="1825625"/>
            <a:ext cx="7922096" cy="4351338"/>
          </a:xfrm>
        </p:spPr>
        <p:txBody>
          <a:bodyPr>
            <a:normAutofit/>
          </a:bodyPr>
          <a:lstStyle/>
          <a:p>
            <a:pPr lvl="1"/>
            <a:r>
              <a:rPr lang="es-MX" sz="2800" dirty="0"/>
              <a:t>Texto: Contiene el programa en ejecución en mi mismo. </a:t>
            </a:r>
          </a:p>
          <a:p>
            <a:pPr lvl="1"/>
            <a:r>
              <a:rPr lang="es-MX" sz="2800" dirty="0"/>
              <a:t>Variables de datos inicializadas: Variables globales y estáticas inicializadas explícitamente por el programa. </a:t>
            </a:r>
          </a:p>
          <a:p>
            <a:pPr lvl="1"/>
            <a:r>
              <a:rPr lang="es-MX" sz="2800" dirty="0"/>
              <a:t>Variables de datos no inicializadas: Variables globales  y estáticas que han sido inicializadas con 0 por el </a:t>
            </a:r>
            <a:r>
              <a:rPr lang="es-MX" sz="2800" dirty="0" err="1"/>
              <a:t>kernel</a:t>
            </a:r>
            <a:r>
              <a:rPr lang="es-MX" sz="2800" dirty="0"/>
              <a:t>.</a:t>
            </a:r>
          </a:p>
        </p:txBody>
      </p:sp>
    </p:spTree>
    <p:extLst>
      <p:ext uri="{BB962C8B-B14F-4D97-AF65-F5344CB8AC3E}">
        <p14:creationId xmlns:p14="http://schemas.microsoft.com/office/powerpoint/2010/main" val="24472442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wQA0wsAAAAAAAAAAAAAIAD///////////////8AAAD///////////////8DAAAAAgD///////8DAAAAAgD///////8DAAAAAgD///////8DAAAAAgD///////8DAAAAAgD///////8DAAAAAgD///////8DAAAAAgD///////8DAAAAAgD///////8DAAAAAgD///////8DAAAAAgD///////8DAAAAAgD///////////////////////////////////////////////////////////////////////////////////////////////////////////////////////////////////////////////////////////////////////////////////////////////////////////////////////////////////////////////////////////////////////////////////////////////////////////////////////////////////////////////8BACAA////////////////AAAO////////AwAAAAMA////////////////////////////////////////////////////////////////////////////////////////////////////////////////////////////////////////////////////////////////////////////////////////////////////////////////////////////////////////////////////////////////////////////////////////////////////////////////////////////////////////////////////////////////////////////////////////////////////////////////////////////////////////////////////////////////////////////////////////////////////////////////////////AgALAP///////wQAAAACABAAC+OZMivCpvdPiM/sKBaFslUFAAAAAAADAAAAAAADAAAAAwADAAAAAAD///////8DAAAAAAD///////8DAAAAAAD///////8DAAAAAAD///////8DAAAAAAD///////8DAAAAAAD///////8DAAAAAAD///////8DAAAAAAD///////8DAAAAAAD///////8DAAAAAAD///////8DAAEA////////BAAAAAMAEAALJ791aQfSmEmWsI2G/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ZMivCpvdPiM/sKBaFslUDRGF0YQAbAAAABExpbmtlZFNoYXBlRGF0YQAFAAAAAAACTmFtZQAZAAAATGlua2VkU2hhcGVzRGF0YVByb3BlcnR5ABBWZXJzaW9uAAAAAAAJTGFzdFdyaXRlANFb6Ph3AQAAAAEA/////50AnQAAAAVfaWQAEAAAAAQnv3VpB9KYSZawjYb+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LANGUAGE" val="en-US"/>
  <p:tag name="MIO_USER_INPUT_OPTIONS" val="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Klassifizierung und Vertraulichkeitsstufen;Bitte wählen Sie den Grad der Vertraulichkeit"/>
  <p:tag name="MIO_USER_INPUT_LANGUAGE" val="de-DE"/>
  <p:tag name="MIO_USER_INPUT_OPTIONS" val="Öffentlich;Intern;Vertraulich;streng vertraulich"/>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85</Words>
  <Application>Microsoft Office PowerPoint</Application>
  <PresentationFormat>Widescreen</PresentationFormat>
  <Paragraphs>155</Paragraphs>
  <Slides>16</Slides>
  <Notes>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6</vt:i4>
      </vt:variant>
    </vt:vector>
  </HeadingPairs>
  <TitlesOfParts>
    <vt:vector size="20" baseType="lpstr">
      <vt:lpstr>Arial</vt:lpstr>
      <vt:lpstr>Calibri</vt:lpstr>
      <vt:lpstr>Calibri Light</vt:lpstr>
      <vt:lpstr>Office Theme</vt:lpstr>
      <vt:lpstr>Memoria </vt:lpstr>
      <vt:lpstr>Memoria en Linux</vt:lpstr>
      <vt:lpstr>Algunas Ventajas de la memoria Virtual</vt:lpstr>
      <vt:lpstr>MMU’s y Paginación</vt:lpstr>
      <vt:lpstr>Fallo de página</vt:lpstr>
      <vt:lpstr>Espacios de memoria del kernel y de usuario</vt:lpstr>
      <vt:lpstr>Espacio del kernel</vt:lpstr>
      <vt:lpstr>Espacio de usuario</vt:lpstr>
      <vt:lpstr>Espacio de direcciones virtuales de un proceso</vt:lpstr>
      <vt:lpstr>Espacio de direcciones virtuales de un proceso continuación</vt:lpstr>
      <vt:lpstr>Fuga de memoria</vt:lpstr>
      <vt:lpstr>Fuga de memoria</vt:lpstr>
      <vt:lpstr>Fuga de memoria</vt:lpstr>
      <vt:lpstr>Fuga de memoria</vt:lpstr>
      <vt:lpstr>Referencias</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on Kirchner_ext</dc:creator>
  <cp:lastModifiedBy>Torres, Cristopherson</cp:lastModifiedBy>
  <cp:revision>104</cp:revision>
  <dcterms:created xsi:type="dcterms:W3CDTF">2019-04-24T08:42:37Z</dcterms:created>
  <dcterms:modified xsi:type="dcterms:W3CDTF">2022-08-25T20:42:50Z</dcterms:modified>
</cp:coreProperties>
</file>